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1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7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9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07" r:id="rId9"/>
    <p:sldId id="1945" r:id="rId10"/>
    <p:sldId id="1962" r:id="rId11"/>
    <p:sldId id="1964" r:id="rId12"/>
    <p:sldId id="1965" r:id="rId13"/>
    <p:sldId id="1966" r:id="rId14"/>
    <p:sldId id="1967" r:id="rId15"/>
    <p:sldId id="1968" r:id="rId16"/>
    <p:sldId id="1969" r:id="rId17"/>
    <p:sldId id="1970" r:id="rId18"/>
    <p:sldId id="1971" r:id="rId19"/>
    <p:sldId id="1972" r:id="rId20"/>
    <p:sldId id="1973" r:id="rId21"/>
    <p:sldId id="1974" r:id="rId22"/>
    <p:sldId id="1975" r:id="rId23"/>
    <p:sldId id="1976" r:id="rId24"/>
    <p:sldId id="1977" r:id="rId25"/>
    <p:sldId id="1978" r:id="rId26"/>
    <p:sldId id="1942" r:id="rId27"/>
    <p:sldId id="1474" r:id="rId28"/>
    <p:sldId id="1481" r:id="rId29"/>
    <p:sldId id="1482" r:id="rId30"/>
    <p:sldId id="1475" r:id="rId31"/>
    <p:sldId id="1483" r:id="rId32"/>
    <p:sldId id="1923" r:id="rId33"/>
    <p:sldId id="1476" r:id="rId34"/>
    <p:sldId id="1523" r:id="rId35"/>
    <p:sldId id="1524" r:id="rId36"/>
    <p:sldId id="1595" r:id="rId37"/>
    <p:sldId id="1639" r:id="rId38"/>
    <p:sldId id="1802" r:id="rId39"/>
    <p:sldId id="1829" r:id="rId40"/>
    <p:sldId id="1823" r:id="rId41"/>
    <p:sldId id="1845" r:id="rId42"/>
    <p:sldId id="1864" r:id="rId43"/>
    <p:sldId id="1866" r:id="rId44"/>
    <p:sldId id="1886" r:id="rId45"/>
    <p:sldId id="1528" r:id="rId46"/>
    <p:sldId id="1530" r:id="rId47"/>
    <p:sldId id="1571" r:id="rId48"/>
    <p:sldId id="1572" r:id="rId49"/>
    <p:sldId id="1596" r:id="rId50"/>
    <p:sldId id="1615" r:id="rId51"/>
    <p:sldId id="1617" r:id="rId52"/>
    <p:sldId id="1641" r:id="rId53"/>
    <p:sldId id="1784" r:id="rId54"/>
    <p:sldId id="1804" r:id="rId55"/>
    <p:sldId id="1888" r:id="rId56"/>
    <p:sldId id="1592" r:id="rId57"/>
    <p:sldId id="1593" r:id="rId58"/>
  </p:sldIdLst>
  <p:sldSz cx="12192000" cy="6858000"/>
  <p:notesSz cx="6858000" cy="9144000"/>
  <p:custDataLst>
    <p:tags r:id="rId6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34E"/>
    <a:srgbClr val="FFFF00"/>
    <a:srgbClr val="E4F828"/>
    <a:srgbClr val="000000"/>
    <a:srgbClr val="0000FF"/>
    <a:srgbClr val="00FF00"/>
    <a:srgbClr val="FF9966"/>
    <a:srgbClr val="FF9933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2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H$1</c:f>
              <c:strCache>
                <c:ptCount val="85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</c:strCache>
            </c:strRef>
          </c:cat>
          <c:val>
            <c:numRef>
              <c:f>List1!$B$2:$CH$2</c:f>
              <c:numCache>
                <c:formatCode>General</c:formatCode>
                <c:ptCount val="8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4</c:v>
                </c:pt>
                <c:pt idx="79">
                  <c:v>330</c:v>
                </c:pt>
                <c:pt idx="80">
                  <c:v>89</c:v>
                </c:pt>
                <c:pt idx="81">
                  <c:v>107</c:v>
                </c:pt>
                <c:pt idx="82">
                  <c:v>118</c:v>
                </c:pt>
                <c:pt idx="83">
                  <c:v>99</c:v>
                </c:pt>
                <c:pt idx="84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5973610883461726</c:v>
                </c:pt>
                <c:pt idx="1">
                  <c:v>0.14026389116538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745560002876114</c:v>
                </c:pt>
                <c:pt idx="1">
                  <c:v>8.25443999712388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List1!$B$2:$B$468</c:f>
              <c:numCache>
                <c:formatCode>General</c:formatCode>
                <c:ptCount val="467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1</c:v>
                </c:pt>
                <c:pt idx="31">
                  <c:v>161</c:v>
                </c:pt>
                <c:pt idx="32">
                  <c:v>197</c:v>
                </c:pt>
                <c:pt idx="33">
                  <c:v>251</c:v>
                </c:pt>
                <c:pt idx="34">
                  <c:v>418</c:v>
                </c:pt>
                <c:pt idx="35">
                  <c:v>500</c:v>
                </c:pt>
                <c:pt idx="36">
                  <c:v>545</c:v>
                </c:pt>
                <c:pt idx="37">
                  <c:v>623</c:v>
                </c:pt>
                <c:pt idx="38">
                  <c:v>762</c:v>
                </c:pt>
                <c:pt idx="39">
                  <c:v>792</c:v>
                </c:pt>
                <c:pt idx="40">
                  <c:v>803</c:v>
                </c:pt>
                <c:pt idx="41">
                  <c:v>941</c:v>
                </c:pt>
                <c:pt idx="42">
                  <c:v>1163</c:v>
                </c:pt>
                <c:pt idx="43">
                  <c:v>1344</c:v>
                </c:pt>
                <c:pt idx="44">
                  <c:v>1535</c:v>
                </c:pt>
                <c:pt idx="45">
                  <c:v>1741</c:v>
                </c:pt>
                <c:pt idx="46">
                  <c:v>1896</c:v>
                </c:pt>
                <c:pt idx="47">
                  <c:v>1937</c:v>
                </c:pt>
                <c:pt idx="48">
                  <c:v>2179</c:v>
                </c:pt>
                <c:pt idx="49">
                  <c:v>2379</c:v>
                </c:pt>
                <c:pt idx="50">
                  <c:v>2705</c:v>
                </c:pt>
                <c:pt idx="51">
                  <c:v>2932</c:v>
                </c:pt>
                <c:pt idx="52">
                  <c:v>3347</c:v>
                </c:pt>
                <c:pt idx="53">
                  <c:v>3574</c:v>
                </c:pt>
                <c:pt idx="54">
                  <c:v>3769</c:v>
                </c:pt>
                <c:pt idx="55">
                  <c:v>4156</c:v>
                </c:pt>
                <c:pt idx="56">
                  <c:v>4678</c:v>
                </c:pt>
                <c:pt idx="57">
                  <c:v>4938</c:v>
                </c:pt>
                <c:pt idx="58">
                  <c:v>5475</c:v>
                </c:pt>
                <c:pt idx="59">
                  <c:v>6062</c:v>
                </c:pt>
                <c:pt idx="60">
                  <c:v>6398</c:v>
                </c:pt>
                <c:pt idx="61">
                  <c:v>6610</c:v>
                </c:pt>
                <c:pt idx="62">
                  <c:v>6941</c:v>
                </c:pt>
                <c:pt idx="63">
                  <c:v>7273</c:v>
                </c:pt>
                <c:pt idx="64">
                  <c:v>7697</c:v>
                </c:pt>
                <c:pt idx="65">
                  <c:v>8230</c:v>
                </c:pt>
                <c:pt idx="66">
                  <c:v>8718</c:v>
                </c:pt>
                <c:pt idx="67">
                  <c:v>8932</c:v>
                </c:pt>
                <c:pt idx="68">
                  <c:v>9010</c:v>
                </c:pt>
                <c:pt idx="69">
                  <c:v>9214</c:v>
                </c:pt>
                <c:pt idx="70">
                  <c:v>9599</c:v>
                </c:pt>
                <c:pt idx="71">
                  <c:v>10276</c:v>
                </c:pt>
                <c:pt idx="72">
                  <c:v>10774</c:v>
                </c:pt>
                <c:pt idx="73">
                  <c:v>11255</c:v>
                </c:pt>
                <c:pt idx="74">
                  <c:v>11434</c:v>
                </c:pt>
                <c:pt idx="75">
                  <c:v>11598</c:v>
                </c:pt>
                <c:pt idx="76">
                  <c:v>11980</c:v>
                </c:pt>
                <c:pt idx="77">
                  <c:v>12117</c:v>
                </c:pt>
                <c:pt idx="78">
                  <c:v>12383</c:v>
                </c:pt>
                <c:pt idx="79">
                  <c:v>12652</c:v>
                </c:pt>
                <c:pt idx="80">
                  <c:v>12890</c:v>
                </c:pt>
                <c:pt idx="81">
                  <c:v>12984</c:v>
                </c:pt>
                <c:pt idx="82">
                  <c:v>13075</c:v>
                </c:pt>
                <c:pt idx="83">
                  <c:v>13453</c:v>
                </c:pt>
                <c:pt idx="84">
                  <c:v>13651</c:v>
                </c:pt>
                <c:pt idx="85">
                  <c:v>13775</c:v>
                </c:pt>
                <c:pt idx="86">
                  <c:v>13969</c:v>
                </c:pt>
                <c:pt idx="87">
                  <c:v>14107</c:v>
                </c:pt>
                <c:pt idx="88">
                  <c:v>14185</c:v>
                </c:pt>
                <c:pt idx="89">
                  <c:v>14213</c:v>
                </c:pt>
                <c:pt idx="90">
                  <c:v>14426</c:v>
                </c:pt>
                <c:pt idx="91">
                  <c:v>14549</c:v>
                </c:pt>
                <c:pt idx="92">
                  <c:v>14681</c:v>
                </c:pt>
                <c:pt idx="93">
                  <c:v>14809</c:v>
                </c:pt>
                <c:pt idx="94">
                  <c:v>14951</c:v>
                </c:pt>
                <c:pt idx="95">
                  <c:v>15040</c:v>
                </c:pt>
                <c:pt idx="96">
                  <c:v>15060</c:v>
                </c:pt>
                <c:pt idx="97">
                  <c:v>15202</c:v>
                </c:pt>
                <c:pt idx="98">
                  <c:v>15291</c:v>
                </c:pt>
                <c:pt idx="99">
                  <c:v>15431</c:v>
                </c:pt>
                <c:pt idx="100">
                  <c:v>15514</c:v>
                </c:pt>
                <c:pt idx="101">
                  <c:v>15743</c:v>
                </c:pt>
                <c:pt idx="102">
                  <c:v>15810</c:v>
                </c:pt>
                <c:pt idx="103">
                  <c:v>15859</c:v>
                </c:pt>
                <c:pt idx="104">
                  <c:v>16006</c:v>
                </c:pt>
                <c:pt idx="105">
                  <c:v>16139</c:v>
                </c:pt>
                <c:pt idx="106">
                  <c:v>16239</c:v>
                </c:pt>
                <c:pt idx="107">
                  <c:v>16307</c:v>
                </c:pt>
                <c:pt idx="108">
                  <c:v>16529</c:v>
                </c:pt>
                <c:pt idx="109">
                  <c:v>16590</c:v>
                </c:pt>
                <c:pt idx="110">
                  <c:v>16611</c:v>
                </c:pt>
                <c:pt idx="111">
                  <c:v>16789</c:v>
                </c:pt>
                <c:pt idx="112">
                  <c:v>16965</c:v>
                </c:pt>
                <c:pt idx="113">
                  <c:v>17087</c:v>
                </c:pt>
                <c:pt idx="114">
                  <c:v>17105</c:v>
                </c:pt>
                <c:pt idx="115">
                  <c:v>17176</c:v>
                </c:pt>
                <c:pt idx="116">
                  <c:v>17254</c:v>
                </c:pt>
                <c:pt idx="117">
                  <c:v>17352</c:v>
                </c:pt>
                <c:pt idx="118">
                  <c:v>17516</c:v>
                </c:pt>
                <c:pt idx="119">
                  <c:v>17701</c:v>
                </c:pt>
                <c:pt idx="120">
                  <c:v>17845</c:v>
                </c:pt>
                <c:pt idx="121">
                  <c:v>17978</c:v>
                </c:pt>
                <c:pt idx="122">
                  <c:v>18043</c:v>
                </c:pt>
                <c:pt idx="123">
                  <c:v>18102</c:v>
                </c:pt>
                <c:pt idx="124">
                  <c:v>18143</c:v>
                </c:pt>
                <c:pt idx="125">
                  <c:v>18412</c:v>
                </c:pt>
                <c:pt idx="126">
                  <c:v>18564</c:v>
                </c:pt>
                <c:pt idx="127">
                  <c:v>18728</c:v>
                </c:pt>
                <c:pt idx="128">
                  <c:v>18960</c:v>
                </c:pt>
                <c:pt idx="129">
                  <c:v>19145</c:v>
                </c:pt>
                <c:pt idx="130">
                  <c:v>19206</c:v>
                </c:pt>
                <c:pt idx="131">
                  <c:v>19236</c:v>
                </c:pt>
                <c:pt idx="132">
                  <c:v>19474</c:v>
                </c:pt>
                <c:pt idx="133">
                  <c:v>19600</c:v>
                </c:pt>
                <c:pt idx="134">
                  <c:v>19774</c:v>
                </c:pt>
                <c:pt idx="135">
                  <c:v>19871</c:v>
                </c:pt>
                <c:pt idx="136">
                  <c:v>19957</c:v>
                </c:pt>
                <c:pt idx="137">
                  <c:v>19992</c:v>
                </c:pt>
                <c:pt idx="138">
                  <c:v>20037</c:v>
                </c:pt>
                <c:pt idx="139">
                  <c:v>20198</c:v>
                </c:pt>
                <c:pt idx="140">
                  <c:v>20277</c:v>
                </c:pt>
                <c:pt idx="141">
                  <c:v>20423</c:v>
                </c:pt>
                <c:pt idx="142">
                  <c:v>20529</c:v>
                </c:pt>
                <c:pt idx="143">
                  <c:v>20643</c:v>
                </c:pt>
                <c:pt idx="144">
                  <c:v>20696</c:v>
                </c:pt>
                <c:pt idx="145">
                  <c:v>20721</c:v>
                </c:pt>
                <c:pt idx="146">
                  <c:v>20805</c:v>
                </c:pt>
                <c:pt idx="147">
                  <c:v>20846</c:v>
                </c:pt>
                <c:pt idx="148">
                  <c:v>20941</c:v>
                </c:pt>
                <c:pt idx="149">
                  <c:v>21007</c:v>
                </c:pt>
                <c:pt idx="150">
                  <c:v>21044</c:v>
                </c:pt>
                <c:pt idx="151">
                  <c:v>21093</c:v>
                </c:pt>
                <c:pt idx="152">
                  <c:v>21102</c:v>
                </c:pt>
                <c:pt idx="153">
                  <c:v>21207</c:v>
                </c:pt>
                <c:pt idx="154">
                  <c:v>21301</c:v>
                </c:pt>
                <c:pt idx="155">
                  <c:v>21403</c:v>
                </c:pt>
                <c:pt idx="156">
                  <c:v>21485</c:v>
                </c:pt>
                <c:pt idx="157">
                  <c:v>21569</c:v>
                </c:pt>
                <c:pt idx="158">
                  <c:v>21611</c:v>
                </c:pt>
                <c:pt idx="159">
                  <c:v>21627</c:v>
                </c:pt>
                <c:pt idx="160">
                  <c:v>21692</c:v>
                </c:pt>
                <c:pt idx="161">
                  <c:v>21758</c:v>
                </c:pt>
                <c:pt idx="162">
                  <c:v>21825</c:v>
                </c:pt>
                <c:pt idx="163">
                  <c:v>21890</c:v>
                </c:pt>
                <c:pt idx="164">
                  <c:v>21942</c:v>
                </c:pt>
                <c:pt idx="165">
                  <c:v>21950</c:v>
                </c:pt>
                <c:pt idx="166">
                  <c:v>21963</c:v>
                </c:pt>
                <c:pt idx="167">
                  <c:v>22000</c:v>
                </c:pt>
                <c:pt idx="168">
                  <c:v>22017</c:v>
                </c:pt>
                <c:pt idx="169">
                  <c:v>22047</c:v>
                </c:pt>
                <c:pt idx="170">
                  <c:v>22074</c:v>
                </c:pt>
                <c:pt idx="171">
                  <c:v>22101</c:v>
                </c:pt>
                <c:pt idx="172">
                  <c:v>22119</c:v>
                </c:pt>
                <c:pt idx="173">
                  <c:v>22124</c:v>
                </c:pt>
                <c:pt idx="174">
                  <c:v>22213</c:v>
                </c:pt>
                <c:pt idx="175">
                  <c:v>22248</c:v>
                </c:pt>
                <c:pt idx="176">
                  <c:v>22282</c:v>
                </c:pt>
                <c:pt idx="177">
                  <c:v>22328</c:v>
                </c:pt>
                <c:pt idx="178">
                  <c:v>22374</c:v>
                </c:pt>
                <c:pt idx="179">
                  <c:v>22383</c:v>
                </c:pt>
                <c:pt idx="180">
                  <c:v>22386</c:v>
                </c:pt>
                <c:pt idx="181">
                  <c:v>22464</c:v>
                </c:pt>
                <c:pt idx="182">
                  <c:v>22492</c:v>
                </c:pt>
                <c:pt idx="183">
                  <c:v>22538</c:v>
                </c:pt>
                <c:pt idx="184">
                  <c:v>22547</c:v>
                </c:pt>
                <c:pt idx="185">
                  <c:v>22569</c:v>
                </c:pt>
                <c:pt idx="186">
                  <c:v>22574</c:v>
                </c:pt>
                <c:pt idx="187">
                  <c:v>22579</c:v>
                </c:pt>
                <c:pt idx="188">
                  <c:v>22606</c:v>
                </c:pt>
                <c:pt idx="189">
                  <c:v>22681</c:v>
                </c:pt>
                <c:pt idx="190">
                  <c:v>22736</c:v>
                </c:pt>
                <c:pt idx="191">
                  <c:v>22748</c:v>
                </c:pt>
                <c:pt idx="192">
                  <c:v>22773</c:v>
                </c:pt>
                <c:pt idx="193">
                  <c:v>22782</c:v>
                </c:pt>
                <c:pt idx="194">
                  <c:v>22788</c:v>
                </c:pt>
                <c:pt idx="195">
                  <c:v>22814</c:v>
                </c:pt>
                <c:pt idx="196">
                  <c:v>22834</c:v>
                </c:pt>
                <c:pt idx="197">
                  <c:v>22841</c:v>
                </c:pt>
                <c:pt idx="198">
                  <c:v>22878</c:v>
                </c:pt>
                <c:pt idx="199">
                  <c:v>22896</c:v>
                </c:pt>
                <c:pt idx="200">
                  <c:v>22905</c:v>
                </c:pt>
                <c:pt idx="201">
                  <c:v>22909</c:v>
                </c:pt>
                <c:pt idx="202">
                  <c:v>22923</c:v>
                </c:pt>
                <c:pt idx="203">
                  <c:v>22951</c:v>
                </c:pt>
                <c:pt idx="204">
                  <c:v>22970</c:v>
                </c:pt>
                <c:pt idx="205">
                  <c:v>23001</c:v>
                </c:pt>
                <c:pt idx="206">
                  <c:v>23007</c:v>
                </c:pt>
                <c:pt idx="207">
                  <c:v>23010</c:v>
                </c:pt>
                <c:pt idx="208">
                  <c:v>23014</c:v>
                </c:pt>
                <c:pt idx="209">
                  <c:v>23035</c:v>
                </c:pt>
                <c:pt idx="210">
                  <c:v>23045</c:v>
                </c:pt>
                <c:pt idx="211">
                  <c:v>23054</c:v>
                </c:pt>
                <c:pt idx="212">
                  <c:v>23063</c:v>
                </c:pt>
                <c:pt idx="213">
                  <c:v>23066</c:v>
                </c:pt>
                <c:pt idx="214">
                  <c:v>23069</c:v>
                </c:pt>
                <c:pt idx="215">
                  <c:v>23071</c:v>
                </c:pt>
                <c:pt idx="216">
                  <c:v>23072</c:v>
                </c:pt>
                <c:pt idx="217">
                  <c:v>23077</c:v>
                </c:pt>
                <c:pt idx="218">
                  <c:v>23095</c:v>
                </c:pt>
                <c:pt idx="219">
                  <c:v>23096</c:v>
                </c:pt>
                <c:pt idx="220">
                  <c:v>23099</c:v>
                </c:pt>
                <c:pt idx="221">
                  <c:v>23100</c:v>
                </c:pt>
                <c:pt idx="222">
                  <c:v>23100</c:v>
                </c:pt>
                <c:pt idx="223">
                  <c:v>23100</c:v>
                </c:pt>
                <c:pt idx="224">
                  <c:v>23102</c:v>
                </c:pt>
                <c:pt idx="225">
                  <c:v>23103</c:v>
                </c:pt>
                <c:pt idx="226">
                  <c:v>23106</c:v>
                </c:pt>
                <c:pt idx="227">
                  <c:v>23107</c:v>
                </c:pt>
                <c:pt idx="228">
                  <c:v>23108</c:v>
                </c:pt>
                <c:pt idx="229">
                  <c:v>23109</c:v>
                </c:pt>
                <c:pt idx="230">
                  <c:v>23114</c:v>
                </c:pt>
                <c:pt idx="231">
                  <c:v>23118</c:v>
                </c:pt>
                <c:pt idx="232">
                  <c:v>23121</c:v>
                </c:pt>
                <c:pt idx="233">
                  <c:v>23130</c:v>
                </c:pt>
                <c:pt idx="234">
                  <c:v>23134</c:v>
                </c:pt>
                <c:pt idx="235">
                  <c:v>23135</c:v>
                </c:pt>
                <c:pt idx="236">
                  <c:v>23136</c:v>
                </c:pt>
                <c:pt idx="237">
                  <c:v>23137</c:v>
                </c:pt>
                <c:pt idx="238">
                  <c:v>23140</c:v>
                </c:pt>
                <c:pt idx="239">
                  <c:v>23141</c:v>
                </c:pt>
                <c:pt idx="240">
                  <c:v>23143</c:v>
                </c:pt>
                <c:pt idx="241">
                  <c:v>23144</c:v>
                </c:pt>
                <c:pt idx="242">
                  <c:v>23144</c:v>
                </c:pt>
                <c:pt idx="243">
                  <c:v>23144</c:v>
                </c:pt>
                <c:pt idx="244">
                  <c:v>23144</c:v>
                </c:pt>
                <c:pt idx="245">
                  <c:v>23144</c:v>
                </c:pt>
                <c:pt idx="246">
                  <c:v>23146</c:v>
                </c:pt>
                <c:pt idx="247">
                  <c:v>23146</c:v>
                </c:pt>
                <c:pt idx="248">
                  <c:v>23147</c:v>
                </c:pt>
                <c:pt idx="249">
                  <c:v>23147</c:v>
                </c:pt>
                <c:pt idx="250">
                  <c:v>23150</c:v>
                </c:pt>
                <c:pt idx="251">
                  <c:v>23155</c:v>
                </c:pt>
                <c:pt idx="252">
                  <c:v>23157</c:v>
                </c:pt>
                <c:pt idx="253">
                  <c:v>23157</c:v>
                </c:pt>
                <c:pt idx="254">
                  <c:v>23159</c:v>
                </c:pt>
                <c:pt idx="255">
                  <c:v>23162</c:v>
                </c:pt>
                <c:pt idx="256">
                  <c:v>23163</c:v>
                </c:pt>
                <c:pt idx="257">
                  <c:v>23163</c:v>
                </c:pt>
                <c:pt idx="258">
                  <c:v>23166</c:v>
                </c:pt>
                <c:pt idx="259">
                  <c:v>23166</c:v>
                </c:pt>
                <c:pt idx="260">
                  <c:v>23168</c:v>
                </c:pt>
                <c:pt idx="261">
                  <c:v>23168</c:v>
                </c:pt>
                <c:pt idx="262">
                  <c:v>23168</c:v>
                </c:pt>
                <c:pt idx="263">
                  <c:v>23168</c:v>
                </c:pt>
                <c:pt idx="264">
                  <c:v>23168</c:v>
                </c:pt>
                <c:pt idx="265">
                  <c:v>23170</c:v>
                </c:pt>
                <c:pt idx="266">
                  <c:v>23170</c:v>
                </c:pt>
                <c:pt idx="267">
                  <c:v>23170</c:v>
                </c:pt>
                <c:pt idx="268">
                  <c:v>23170</c:v>
                </c:pt>
                <c:pt idx="269">
                  <c:v>23170</c:v>
                </c:pt>
                <c:pt idx="270">
                  <c:v>23170</c:v>
                </c:pt>
                <c:pt idx="271">
                  <c:v>23170</c:v>
                </c:pt>
                <c:pt idx="272">
                  <c:v>23170</c:v>
                </c:pt>
                <c:pt idx="273">
                  <c:v>23170</c:v>
                </c:pt>
                <c:pt idx="274">
                  <c:v>23173</c:v>
                </c:pt>
                <c:pt idx="275">
                  <c:v>23174</c:v>
                </c:pt>
                <c:pt idx="276">
                  <c:v>23174</c:v>
                </c:pt>
                <c:pt idx="277">
                  <c:v>23174</c:v>
                </c:pt>
                <c:pt idx="278">
                  <c:v>23174</c:v>
                </c:pt>
                <c:pt idx="279">
                  <c:v>23174</c:v>
                </c:pt>
                <c:pt idx="280">
                  <c:v>23174</c:v>
                </c:pt>
                <c:pt idx="281">
                  <c:v>23174</c:v>
                </c:pt>
                <c:pt idx="282">
                  <c:v>23174</c:v>
                </c:pt>
                <c:pt idx="283">
                  <c:v>23175</c:v>
                </c:pt>
                <c:pt idx="284">
                  <c:v>23175</c:v>
                </c:pt>
                <c:pt idx="285">
                  <c:v>23175</c:v>
                </c:pt>
                <c:pt idx="286">
                  <c:v>23175</c:v>
                </c:pt>
                <c:pt idx="287">
                  <c:v>23175</c:v>
                </c:pt>
                <c:pt idx="288">
                  <c:v>23175</c:v>
                </c:pt>
                <c:pt idx="289">
                  <c:v>23176</c:v>
                </c:pt>
                <c:pt idx="290">
                  <c:v>23176</c:v>
                </c:pt>
                <c:pt idx="291">
                  <c:v>23176</c:v>
                </c:pt>
                <c:pt idx="292">
                  <c:v>23176</c:v>
                </c:pt>
                <c:pt idx="293">
                  <c:v>23176</c:v>
                </c:pt>
                <c:pt idx="294">
                  <c:v>23176</c:v>
                </c:pt>
                <c:pt idx="295">
                  <c:v>23177</c:v>
                </c:pt>
                <c:pt idx="296">
                  <c:v>23178</c:v>
                </c:pt>
                <c:pt idx="297">
                  <c:v>23178</c:v>
                </c:pt>
                <c:pt idx="298">
                  <c:v>23178</c:v>
                </c:pt>
                <c:pt idx="299">
                  <c:v>23178</c:v>
                </c:pt>
                <c:pt idx="300">
                  <c:v>23178</c:v>
                </c:pt>
                <c:pt idx="301">
                  <c:v>23178</c:v>
                </c:pt>
                <c:pt idx="302">
                  <c:v>23178</c:v>
                </c:pt>
                <c:pt idx="303">
                  <c:v>23179</c:v>
                </c:pt>
                <c:pt idx="304">
                  <c:v>23179</c:v>
                </c:pt>
                <c:pt idx="305">
                  <c:v>23179</c:v>
                </c:pt>
                <c:pt idx="306">
                  <c:v>23180</c:v>
                </c:pt>
                <c:pt idx="307">
                  <c:v>23180</c:v>
                </c:pt>
                <c:pt idx="308">
                  <c:v>23180</c:v>
                </c:pt>
                <c:pt idx="309">
                  <c:v>23180</c:v>
                </c:pt>
                <c:pt idx="310">
                  <c:v>23181</c:v>
                </c:pt>
                <c:pt idx="311">
                  <c:v>23181</c:v>
                </c:pt>
                <c:pt idx="312">
                  <c:v>23181</c:v>
                </c:pt>
                <c:pt idx="313">
                  <c:v>23181</c:v>
                </c:pt>
                <c:pt idx="314">
                  <c:v>23181</c:v>
                </c:pt>
                <c:pt idx="315">
                  <c:v>23181</c:v>
                </c:pt>
                <c:pt idx="316">
                  <c:v>23181</c:v>
                </c:pt>
                <c:pt idx="317">
                  <c:v>23181</c:v>
                </c:pt>
                <c:pt idx="318">
                  <c:v>23181</c:v>
                </c:pt>
                <c:pt idx="319">
                  <c:v>23181</c:v>
                </c:pt>
                <c:pt idx="320">
                  <c:v>23181</c:v>
                </c:pt>
                <c:pt idx="321">
                  <c:v>23181</c:v>
                </c:pt>
                <c:pt idx="322">
                  <c:v>23181</c:v>
                </c:pt>
                <c:pt idx="323">
                  <c:v>23181</c:v>
                </c:pt>
                <c:pt idx="324">
                  <c:v>23181</c:v>
                </c:pt>
                <c:pt idx="325">
                  <c:v>23181</c:v>
                </c:pt>
                <c:pt idx="326">
                  <c:v>23182</c:v>
                </c:pt>
                <c:pt idx="327">
                  <c:v>23182</c:v>
                </c:pt>
                <c:pt idx="328">
                  <c:v>23182</c:v>
                </c:pt>
                <c:pt idx="329">
                  <c:v>23182</c:v>
                </c:pt>
                <c:pt idx="330">
                  <c:v>23182</c:v>
                </c:pt>
                <c:pt idx="331">
                  <c:v>23182</c:v>
                </c:pt>
                <c:pt idx="332">
                  <c:v>23182</c:v>
                </c:pt>
                <c:pt idx="333">
                  <c:v>23182</c:v>
                </c:pt>
                <c:pt idx="334">
                  <c:v>23182</c:v>
                </c:pt>
                <c:pt idx="335">
                  <c:v>23182</c:v>
                </c:pt>
                <c:pt idx="336">
                  <c:v>23182</c:v>
                </c:pt>
                <c:pt idx="337">
                  <c:v>23182</c:v>
                </c:pt>
                <c:pt idx="338">
                  <c:v>23182</c:v>
                </c:pt>
                <c:pt idx="339">
                  <c:v>23182</c:v>
                </c:pt>
                <c:pt idx="340">
                  <c:v>23182</c:v>
                </c:pt>
                <c:pt idx="341">
                  <c:v>23182</c:v>
                </c:pt>
                <c:pt idx="342">
                  <c:v>23182</c:v>
                </c:pt>
                <c:pt idx="343">
                  <c:v>23182</c:v>
                </c:pt>
                <c:pt idx="344">
                  <c:v>23182</c:v>
                </c:pt>
                <c:pt idx="345">
                  <c:v>23182</c:v>
                </c:pt>
                <c:pt idx="346">
                  <c:v>23182</c:v>
                </c:pt>
                <c:pt idx="347">
                  <c:v>23182</c:v>
                </c:pt>
                <c:pt idx="348">
                  <c:v>23182</c:v>
                </c:pt>
                <c:pt idx="349">
                  <c:v>23183</c:v>
                </c:pt>
                <c:pt idx="350">
                  <c:v>23184</c:v>
                </c:pt>
                <c:pt idx="351">
                  <c:v>23184</c:v>
                </c:pt>
                <c:pt idx="352">
                  <c:v>23185</c:v>
                </c:pt>
                <c:pt idx="353">
                  <c:v>23185</c:v>
                </c:pt>
                <c:pt idx="354">
                  <c:v>23185</c:v>
                </c:pt>
                <c:pt idx="355">
                  <c:v>23185</c:v>
                </c:pt>
                <c:pt idx="356">
                  <c:v>23187</c:v>
                </c:pt>
                <c:pt idx="357">
                  <c:v>23187</c:v>
                </c:pt>
                <c:pt idx="358">
                  <c:v>23187</c:v>
                </c:pt>
                <c:pt idx="359">
                  <c:v>23187</c:v>
                </c:pt>
                <c:pt idx="360">
                  <c:v>23187</c:v>
                </c:pt>
                <c:pt idx="361">
                  <c:v>23187</c:v>
                </c:pt>
                <c:pt idx="362">
                  <c:v>23187</c:v>
                </c:pt>
                <c:pt idx="363">
                  <c:v>23187</c:v>
                </c:pt>
                <c:pt idx="364">
                  <c:v>23187</c:v>
                </c:pt>
                <c:pt idx="365">
                  <c:v>23188</c:v>
                </c:pt>
                <c:pt idx="366">
                  <c:v>23192</c:v>
                </c:pt>
                <c:pt idx="367">
                  <c:v>23194</c:v>
                </c:pt>
                <c:pt idx="368">
                  <c:v>23195</c:v>
                </c:pt>
                <c:pt idx="369">
                  <c:v>23195</c:v>
                </c:pt>
                <c:pt idx="370">
                  <c:v>23199</c:v>
                </c:pt>
                <c:pt idx="371">
                  <c:v>23199</c:v>
                </c:pt>
                <c:pt idx="372">
                  <c:v>23199</c:v>
                </c:pt>
                <c:pt idx="373">
                  <c:v>23200</c:v>
                </c:pt>
                <c:pt idx="374">
                  <c:v>23200</c:v>
                </c:pt>
                <c:pt idx="375">
                  <c:v>23200</c:v>
                </c:pt>
                <c:pt idx="376">
                  <c:v>23200</c:v>
                </c:pt>
                <c:pt idx="377">
                  <c:v>23201</c:v>
                </c:pt>
                <c:pt idx="378">
                  <c:v>23201</c:v>
                </c:pt>
                <c:pt idx="379">
                  <c:v>23201</c:v>
                </c:pt>
                <c:pt idx="380">
                  <c:v>23201</c:v>
                </c:pt>
                <c:pt idx="381">
                  <c:v>23201</c:v>
                </c:pt>
                <c:pt idx="382">
                  <c:v>23201</c:v>
                </c:pt>
                <c:pt idx="383">
                  <c:v>23201</c:v>
                </c:pt>
                <c:pt idx="384">
                  <c:v>23202</c:v>
                </c:pt>
                <c:pt idx="385">
                  <c:v>23205</c:v>
                </c:pt>
                <c:pt idx="386">
                  <c:v>23206</c:v>
                </c:pt>
                <c:pt idx="387">
                  <c:v>23206</c:v>
                </c:pt>
                <c:pt idx="388">
                  <c:v>23206</c:v>
                </c:pt>
                <c:pt idx="389">
                  <c:v>23206</c:v>
                </c:pt>
                <c:pt idx="390">
                  <c:v>23206</c:v>
                </c:pt>
                <c:pt idx="391">
                  <c:v>23208</c:v>
                </c:pt>
                <c:pt idx="392">
                  <c:v>23208</c:v>
                </c:pt>
                <c:pt idx="393">
                  <c:v>23209</c:v>
                </c:pt>
                <c:pt idx="394">
                  <c:v>23209</c:v>
                </c:pt>
                <c:pt idx="395">
                  <c:v>23210</c:v>
                </c:pt>
                <c:pt idx="396">
                  <c:v>23211</c:v>
                </c:pt>
                <c:pt idx="397">
                  <c:v>23212</c:v>
                </c:pt>
                <c:pt idx="398">
                  <c:v>23214</c:v>
                </c:pt>
                <c:pt idx="399">
                  <c:v>23216</c:v>
                </c:pt>
                <c:pt idx="400">
                  <c:v>23227</c:v>
                </c:pt>
                <c:pt idx="401">
                  <c:v>23229</c:v>
                </c:pt>
                <c:pt idx="402">
                  <c:v>23254</c:v>
                </c:pt>
                <c:pt idx="403">
                  <c:v>23255</c:v>
                </c:pt>
                <c:pt idx="404">
                  <c:v>23255</c:v>
                </c:pt>
                <c:pt idx="405">
                  <c:v>23256</c:v>
                </c:pt>
                <c:pt idx="406">
                  <c:v>23256</c:v>
                </c:pt>
                <c:pt idx="407">
                  <c:v>23276</c:v>
                </c:pt>
                <c:pt idx="408">
                  <c:v>23279</c:v>
                </c:pt>
                <c:pt idx="409">
                  <c:v>23281</c:v>
                </c:pt>
                <c:pt idx="410">
                  <c:v>23281</c:v>
                </c:pt>
                <c:pt idx="411">
                  <c:v>23281</c:v>
                </c:pt>
                <c:pt idx="412">
                  <c:v>23287</c:v>
                </c:pt>
                <c:pt idx="413">
                  <c:v>23291</c:v>
                </c:pt>
                <c:pt idx="414">
                  <c:v>23295</c:v>
                </c:pt>
                <c:pt idx="415">
                  <c:v>23297</c:v>
                </c:pt>
                <c:pt idx="416">
                  <c:v>23302</c:v>
                </c:pt>
                <c:pt idx="417">
                  <c:v>23303</c:v>
                </c:pt>
                <c:pt idx="418">
                  <c:v>23304</c:v>
                </c:pt>
                <c:pt idx="419">
                  <c:v>23318</c:v>
                </c:pt>
                <c:pt idx="420">
                  <c:v>23327</c:v>
                </c:pt>
                <c:pt idx="421">
                  <c:v>23337</c:v>
                </c:pt>
                <c:pt idx="422">
                  <c:v>23337</c:v>
                </c:pt>
                <c:pt idx="423">
                  <c:v>23355</c:v>
                </c:pt>
                <c:pt idx="424">
                  <c:v>23362</c:v>
                </c:pt>
                <c:pt idx="425">
                  <c:v>23373</c:v>
                </c:pt>
                <c:pt idx="426">
                  <c:v>23408</c:v>
                </c:pt>
                <c:pt idx="427">
                  <c:v>23421</c:v>
                </c:pt>
                <c:pt idx="428">
                  <c:v>23437</c:v>
                </c:pt>
                <c:pt idx="429">
                  <c:v>23489</c:v>
                </c:pt>
                <c:pt idx="430">
                  <c:v>23512</c:v>
                </c:pt>
                <c:pt idx="431">
                  <c:v>23518</c:v>
                </c:pt>
                <c:pt idx="432">
                  <c:v>23523</c:v>
                </c:pt>
                <c:pt idx="433">
                  <c:v>23553</c:v>
                </c:pt>
                <c:pt idx="434">
                  <c:v>23582</c:v>
                </c:pt>
                <c:pt idx="435">
                  <c:v>23597</c:v>
                </c:pt>
                <c:pt idx="436">
                  <c:v>23614</c:v>
                </c:pt>
                <c:pt idx="437">
                  <c:v>23631</c:v>
                </c:pt>
                <c:pt idx="438">
                  <c:v>23644</c:v>
                </c:pt>
                <c:pt idx="439">
                  <c:v>23658</c:v>
                </c:pt>
                <c:pt idx="440">
                  <c:v>23701</c:v>
                </c:pt>
                <c:pt idx="441">
                  <c:v>23733</c:v>
                </c:pt>
                <c:pt idx="442">
                  <c:v>23756</c:v>
                </c:pt>
                <c:pt idx="443">
                  <c:v>23810</c:v>
                </c:pt>
                <c:pt idx="444">
                  <c:v>23894</c:v>
                </c:pt>
                <c:pt idx="445">
                  <c:v>23920</c:v>
                </c:pt>
                <c:pt idx="446">
                  <c:v>23930</c:v>
                </c:pt>
                <c:pt idx="447">
                  <c:v>23977</c:v>
                </c:pt>
                <c:pt idx="448">
                  <c:v>23999</c:v>
                </c:pt>
                <c:pt idx="449">
                  <c:v>24036</c:v>
                </c:pt>
                <c:pt idx="450">
                  <c:v>24070</c:v>
                </c:pt>
                <c:pt idx="451">
                  <c:v>24123</c:v>
                </c:pt>
                <c:pt idx="452">
                  <c:v>24126</c:v>
                </c:pt>
                <c:pt idx="453">
                  <c:v>24131</c:v>
                </c:pt>
                <c:pt idx="454">
                  <c:v>24159</c:v>
                </c:pt>
                <c:pt idx="455">
                  <c:v>24180</c:v>
                </c:pt>
                <c:pt idx="456">
                  <c:v>24203</c:v>
                </c:pt>
                <c:pt idx="457">
                  <c:v>24236</c:v>
                </c:pt>
                <c:pt idx="458">
                  <c:v>24254</c:v>
                </c:pt>
                <c:pt idx="459">
                  <c:v>24293</c:v>
                </c:pt>
                <c:pt idx="460">
                  <c:v>24297</c:v>
                </c:pt>
                <c:pt idx="461">
                  <c:v>24320</c:v>
                </c:pt>
                <c:pt idx="462">
                  <c:v>24336</c:v>
                </c:pt>
                <c:pt idx="463">
                  <c:v>24362</c:v>
                </c:pt>
                <c:pt idx="464">
                  <c:v>24392</c:v>
                </c:pt>
                <c:pt idx="465">
                  <c:v>24404</c:v>
                </c:pt>
                <c:pt idx="466">
                  <c:v>24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List1!$C$2:$C$468</c:f>
              <c:numCache>
                <c:formatCode>General</c:formatCode>
                <c:ptCount val="46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19</c:v>
                </c:pt>
                <c:pt idx="32">
                  <c:v>250</c:v>
                </c:pt>
                <c:pt idx="33">
                  <c:v>279</c:v>
                </c:pt>
                <c:pt idx="34">
                  <c:v>368</c:v>
                </c:pt>
                <c:pt idx="35">
                  <c:v>414</c:v>
                </c:pt>
                <c:pt idx="36">
                  <c:v>456</c:v>
                </c:pt>
                <c:pt idx="37">
                  <c:v>540</c:v>
                </c:pt>
                <c:pt idx="38">
                  <c:v>627</c:v>
                </c:pt>
                <c:pt idx="39">
                  <c:v>678</c:v>
                </c:pt>
                <c:pt idx="40">
                  <c:v>703</c:v>
                </c:pt>
                <c:pt idx="41">
                  <c:v>860</c:v>
                </c:pt>
                <c:pt idx="42">
                  <c:v>1014</c:v>
                </c:pt>
                <c:pt idx="43">
                  <c:v>1205</c:v>
                </c:pt>
                <c:pt idx="44">
                  <c:v>1404</c:v>
                </c:pt>
                <c:pt idx="45">
                  <c:v>1615</c:v>
                </c:pt>
                <c:pt idx="46">
                  <c:v>1718</c:v>
                </c:pt>
                <c:pt idx="47">
                  <c:v>1766</c:v>
                </c:pt>
                <c:pt idx="48">
                  <c:v>1955</c:v>
                </c:pt>
                <c:pt idx="49">
                  <c:v>2148</c:v>
                </c:pt>
                <c:pt idx="50">
                  <c:v>2405</c:v>
                </c:pt>
                <c:pt idx="51">
                  <c:v>2640</c:v>
                </c:pt>
                <c:pt idx="52">
                  <c:v>2974</c:v>
                </c:pt>
                <c:pt idx="53">
                  <c:v>3161</c:v>
                </c:pt>
                <c:pt idx="54">
                  <c:v>3251</c:v>
                </c:pt>
                <c:pt idx="55">
                  <c:v>3626</c:v>
                </c:pt>
                <c:pt idx="56">
                  <c:v>4022</c:v>
                </c:pt>
                <c:pt idx="57">
                  <c:v>4156</c:v>
                </c:pt>
                <c:pt idx="58">
                  <c:v>4625</c:v>
                </c:pt>
                <c:pt idx="59">
                  <c:v>4957</c:v>
                </c:pt>
                <c:pt idx="60">
                  <c:v>5139</c:v>
                </c:pt>
                <c:pt idx="61">
                  <c:v>5255</c:v>
                </c:pt>
                <c:pt idx="62">
                  <c:v>5552</c:v>
                </c:pt>
                <c:pt idx="63">
                  <c:v>5782</c:v>
                </c:pt>
                <c:pt idx="64">
                  <c:v>6111</c:v>
                </c:pt>
                <c:pt idx="65">
                  <c:v>6389</c:v>
                </c:pt>
                <c:pt idx="66">
                  <c:v>6629</c:v>
                </c:pt>
                <c:pt idx="67">
                  <c:v>6746</c:v>
                </c:pt>
                <c:pt idx="68">
                  <c:v>6794</c:v>
                </c:pt>
                <c:pt idx="69">
                  <c:v>6990</c:v>
                </c:pt>
                <c:pt idx="70">
                  <c:v>7194</c:v>
                </c:pt>
                <c:pt idx="71">
                  <c:v>7456</c:v>
                </c:pt>
                <c:pt idx="72">
                  <c:v>7685</c:v>
                </c:pt>
                <c:pt idx="73">
                  <c:v>7889</c:v>
                </c:pt>
                <c:pt idx="74">
                  <c:v>7962</c:v>
                </c:pt>
                <c:pt idx="75">
                  <c:v>7992</c:v>
                </c:pt>
                <c:pt idx="76">
                  <c:v>8169</c:v>
                </c:pt>
                <c:pt idx="77">
                  <c:v>8215</c:v>
                </c:pt>
                <c:pt idx="78">
                  <c:v>8377</c:v>
                </c:pt>
                <c:pt idx="79">
                  <c:v>8504</c:v>
                </c:pt>
                <c:pt idx="80">
                  <c:v>8624</c:v>
                </c:pt>
                <c:pt idx="81">
                  <c:v>8660</c:v>
                </c:pt>
                <c:pt idx="82">
                  <c:v>8677</c:v>
                </c:pt>
                <c:pt idx="83">
                  <c:v>8815</c:v>
                </c:pt>
                <c:pt idx="84">
                  <c:v>8920</c:v>
                </c:pt>
                <c:pt idx="85">
                  <c:v>9012</c:v>
                </c:pt>
                <c:pt idx="86">
                  <c:v>9067</c:v>
                </c:pt>
                <c:pt idx="87">
                  <c:v>9147</c:v>
                </c:pt>
                <c:pt idx="88">
                  <c:v>9170</c:v>
                </c:pt>
                <c:pt idx="89">
                  <c:v>9185</c:v>
                </c:pt>
                <c:pt idx="90">
                  <c:v>9290</c:v>
                </c:pt>
                <c:pt idx="91">
                  <c:v>9375</c:v>
                </c:pt>
                <c:pt idx="92">
                  <c:v>9441</c:v>
                </c:pt>
                <c:pt idx="93">
                  <c:v>9498</c:v>
                </c:pt>
                <c:pt idx="94">
                  <c:v>9587</c:v>
                </c:pt>
                <c:pt idx="95">
                  <c:v>9626</c:v>
                </c:pt>
                <c:pt idx="96">
                  <c:v>9651</c:v>
                </c:pt>
                <c:pt idx="97">
                  <c:v>9771</c:v>
                </c:pt>
                <c:pt idx="98">
                  <c:v>9847</c:v>
                </c:pt>
                <c:pt idx="99">
                  <c:v>9909</c:v>
                </c:pt>
                <c:pt idx="100">
                  <c:v>9968</c:v>
                </c:pt>
                <c:pt idx="101">
                  <c:v>10045</c:v>
                </c:pt>
                <c:pt idx="102">
                  <c:v>10066</c:v>
                </c:pt>
                <c:pt idx="103">
                  <c:v>10083</c:v>
                </c:pt>
                <c:pt idx="104">
                  <c:v>10211</c:v>
                </c:pt>
                <c:pt idx="105">
                  <c:v>10282</c:v>
                </c:pt>
                <c:pt idx="106">
                  <c:v>10376</c:v>
                </c:pt>
                <c:pt idx="107">
                  <c:v>10427</c:v>
                </c:pt>
                <c:pt idx="108">
                  <c:v>10509</c:v>
                </c:pt>
                <c:pt idx="109">
                  <c:v>10536</c:v>
                </c:pt>
                <c:pt idx="110">
                  <c:v>10563</c:v>
                </c:pt>
                <c:pt idx="111">
                  <c:v>10721</c:v>
                </c:pt>
                <c:pt idx="112">
                  <c:v>10832</c:v>
                </c:pt>
                <c:pt idx="113">
                  <c:v>10948</c:v>
                </c:pt>
                <c:pt idx="114">
                  <c:v>10976</c:v>
                </c:pt>
                <c:pt idx="115">
                  <c:v>11020</c:v>
                </c:pt>
                <c:pt idx="116">
                  <c:v>11069</c:v>
                </c:pt>
                <c:pt idx="117">
                  <c:v>11115</c:v>
                </c:pt>
                <c:pt idx="118">
                  <c:v>11307</c:v>
                </c:pt>
                <c:pt idx="119">
                  <c:v>11453</c:v>
                </c:pt>
                <c:pt idx="120">
                  <c:v>11564</c:v>
                </c:pt>
                <c:pt idx="121">
                  <c:v>11649</c:v>
                </c:pt>
                <c:pt idx="122">
                  <c:v>11677</c:v>
                </c:pt>
                <c:pt idx="123">
                  <c:v>11736</c:v>
                </c:pt>
                <c:pt idx="124">
                  <c:v>11771</c:v>
                </c:pt>
                <c:pt idx="125">
                  <c:v>12042</c:v>
                </c:pt>
                <c:pt idx="126">
                  <c:v>12185</c:v>
                </c:pt>
                <c:pt idx="127">
                  <c:v>12297</c:v>
                </c:pt>
                <c:pt idx="128">
                  <c:v>12396</c:v>
                </c:pt>
                <c:pt idx="129">
                  <c:v>12517</c:v>
                </c:pt>
                <c:pt idx="130">
                  <c:v>12565</c:v>
                </c:pt>
                <c:pt idx="131">
                  <c:v>12590</c:v>
                </c:pt>
                <c:pt idx="132">
                  <c:v>12819</c:v>
                </c:pt>
                <c:pt idx="133">
                  <c:v>12914</c:v>
                </c:pt>
                <c:pt idx="134">
                  <c:v>13020</c:v>
                </c:pt>
                <c:pt idx="135">
                  <c:v>13073</c:v>
                </c:pt>
                <c:pt idx="136">
                  <c:v>13138</c:v>
                </c:pt>
                <c:pt idx="137">
                  <c:v>13170</c:v>
                </c:pt>
                <c:pt idx="138">
                  <c:v>13196</c:v>
                </c:pt>
                <c:pt idx="139">
                  <c:v>13320</c:v>
                </c:pt>
                <c:pt idx="140">
                  <c:v>13395</c:v>
                </c:pt>
                <c:pt idx="141">
                  <c:v>13466</c:v>
                </c:pt>
                <c:pt idx="142">
                  <c:v>13526</c:v>
                </c:pt>
                <c:pt idx="143">
                  <c:v>13604</c:v>
                </c:pt>
                <c:pt idx="144">
                  <c:v>13630</c:v>
                </c:pt>
                <c:pt idx="145">
                  <c:v>13641</c:v>
                </c:pt>
                <c:pt idx="146">
                  <c:v>13730</c:v>
                </c:pt>
                <c:pt idx="147">
                  <c:v>13806</c:v>
                </c:pt>
                <c:pt idx="148">
                  <c:v>13865</c:v>
                </c:pt>
                <c:pt idx="149">
                  <c:v>13897</c:v>
                </c:pt>
                <c:pt idx="150">
                  <c:v>13943</c:v>
                </c:pt>
                <c:pt idx="151">
                  <c:v>13972</c:v>
                </c:pt>
                <c:pt idx="152">
                  <c:v>13981</c:v>
                </c:pt>
                <c:pt idx="153">
                  <c:v>14061</c:v>
                </c:pt>
                <c:pt idx="154">
                  <c:v>14129</c:v>
                </c:pt>
                <c:pt idx="155">
                  <c:v>14187</c:v>
                </c:pt>
                <c:pt idx="156">
                  <c:v>14229</c:v>
                </c:pt>
                <c:pt idx="157">
                  <c:v>14275</c:v>
                </c:pt>
                <c:pt idx="158">
                  <c:v>14285</c:v>
                </c:pt>
                <c:pt idx="159">
                  <c:v>14302</c:v>
                </c:pt>
                <c:pt idx="160">
                  <c:v>14372</c:v>
                </c:pt>
                <c:pt idx="161">
                  <c:v>14393</c:v>
                </c:pt>
                <c:pt idx="162">
                  <c:v>14426</c:v>
                </c:pt>
                <c:pt idx="163">
                  <c:v>14464</c:v>
                </c:pt>
                <c:pt idx="164">
                  <c:v>14503</c:v>
                </c:pt>
                <c:pt idx="165">
                  <c:v>14518</c:v>
                </c:pt>
                <c:pt idx="166">
                  <c:v>14528</c:v>
                </c:pt>
                <c:pt idx="167">
                  <c:v>14590</c:v>
                </c:pt>
                <c:pt idx="168">
                  <c:v>14623</c:v>
                </c:pt>
                <c:pt idx="169">
                  <c:v>14659</c:v>
                </c:pt>
                <c:pt idx="170">
                  <c:v>14688</c:v>
                </c:pt>
                <c:pt idx="171">
                  <c:v>14723</c:v>
                </c:pt>
                <c:pt idx="172">
                  <c:v>14729</c:v>
                </c:pt>
                <c:pt idx="173">
                  <c:v>14747</c:v>
                </c:pt>
                <c:pt idx="174">
                  <c:v>14820</c:v>
                </c:pt>
                <c:pt idx="175">
                  <c:v>14864</c:v>
                </c:pt>
                <c:pt idx="176">
                  <c:v>14898</c:v>
                </c:pt>
                <c:pt idx="177">
                  <c:v>14929</c:v>
                </c:pt>
                <c:pt idx="178">
                  <c:v>14968</c:v>
                </c:pt>
                <c:pt idx="179">
                  <c:v>14977</c:v>
                </c:pt>
                <c:pt idx="180">
                  <c:v>14986</c:v>
                </c:pt>
                <c:pt idx="181">
                  <c:v>15041</c:v>
                </c:pt>
                <c:pt idx="182">
                  <c:v>15080</c:v>
                </c:pt>
                <c:pt idx="183">
                  <c:v>15135</c:v>
                </c:pt>
                <c:pt idx="184">
                  <c:v>15173</c:v>
                </c:pt>
                <c:pt idx="185">
                  <c:v>15201</c:v>
                </c:pt>
                <c:pt idx="186">
                  <c:v>15215</c:v>
                </c:pt>
                <c:pt idx="187">
                  <c:v>15225</c:v>
                </c:pt>
                <c:pt idx="188">
                  <c:v>15284</c:v>
                </c:pt>
                <c:pt idx="189">
                  <c:v>15321</c:v>
                </c:pt>
                <c:pt idx="190">
                  <c:v>15350</c:v>
                </c:pt>
                <c:pt idx="191">
                  <c:v>15376</c:v>
                </c:pt>
                <c:pt idx="192">
                  <c:v>15394</c:v>
                </c:pt>
                <c:pt idx="193">
                  <c:v>15405</c:v>
                </c:pt>
                <c:pt idx="194">
                  <c:v>15412</c:v>
                </c:pt>
                <c:pt idx="195">
                  <c:v>15447</c:v>
                </c:pt>
                <c:pt idx="196">
                  <c:v>15470</c:v>
                </c:pt>
                <c:pt idx="197">
                  <c:v>15493</c:v>
                </c:pt>
                <c:pt idx="198">
                  <c:v>15509</c:v>
                </c:pt>
                <c:pt idx="199">
                  <c:v>15529</c:v>
                </c:pt>
                <c:pt idx="200">
                  <c:v>15530</c:v>
                </c:pt>
                <c:pt idx="201">
                  <c:v>15534</c:v>
                </c:pt>
                <c:pt idx="202">
                  <c:v>15564</c:v>
                </c:pt>
                <c:pt idx="203">
                  <c:v>15582</c:v>
                </c:pt>
                <c:pt idx="204">
                  <c:v>15592</c:v>
                </c:pt>
                <c:pt idx="205">
                  <c:v>15600</c:v>
                </c:pt>
                <c:pt idx="206">
                  <c:v>15616</c:v>
                </c:pt>
                <c:pt idx="207">
                  <c:v>15619</c:v>
                </c:pt>
                <c:pt idx="208">
                  <c:v>15620</c:v>
                </c:pt>
                <c:pt idx="209">
                  <c:v>15639</c:v>
                </c:pt>
                <c:pt idx="210">
                  <c:v>15653</c:v>
                </c:pt>
                <c:pt idx="211">
                  <c:v>15666</c:v>
                </c:pt>
                <c:pt idx="212">
                  <c:v>15678</c:v>
                </c:pt>
                <c:pt idx="213">
                  <c:v>15681</c:v>
                </c:pt>
                <c:pt idx="214">
                  <c:v>15684</c:v>
                </c:pt>
                <c:pt idx="215">
                  <c:v>15686</c:v>
                </c:pt>
                <c:pt idx="216">
                  <c:v>15691</c:v>
                </c:pt>
                <c:pt idx="217">
                  <c:v>15712</c:v>
                </c:pt>
                <c:pt idx="218">
                  <c:v>15728</c:v>
                </c:pt>
                <c:pt idx="219">
                  <c:v>15744</c:v>
                </c:pt>
                <c:pt idx="220">
                  <c:v>15752</c:v>
                </c:pt>
                <c:pt idx="221">
                  <c:v>15756</c:v>
                </c:pt>
                <c:pt idx="222">
                  <c:v>15757</c:v>
                </c:pt>
                <c:pt idx="223">
                  <c:v>15765</c:v>
                </c:pt>
                <c:pt idx="224">
                  <c:v>15771</c:v>
                </c:pt>
                <c:pt idx="225">
                  <c:v>15775</c:v>
                </c:pt>
                <c:pt idx="226">
                  <c:v>15781</c:v>
                </c:pt>
                <c:pt idx="227">
                  <c:v>15787</c:v>
                </c:pt>
                <c:pt idx="228">
                  <c:v>15788</c:v>
                </c:pt>
                <c:pt idx="229">
                  <c:v>15789</c:v>
                </c:pt>
                <c:pt idx="230">
                  <c:v>15799</c:v>
                </c:pt>
                <c:pt idx="231">
                  <c:v>15802</c:v>
                </c:pt>
                <c:pt idx="232">
                  <c:v>15805</c:v>
                </c:pt>
                <c:pt idx="233">
                  <c:v>15809</c:v>
                </c:pt>
                <c:pt idx="234">
                  <c:v>15812</c:v>
                </c:pt>
                <c:pt idx="235">
                  <c:v>15813</c:v>
                </c:pt>
                <c:pt idx="236">
                  <c:v>15813</c:v>
                </c:pt>
                <c:pt idx="237">
                  <c:v>15819</c:v>
                </c:pt>
                <c:pt idx="238">
                  <c:v>15825</c:v>
                </c:pt>
                <c:pt idx="239">
                  <c:v>15827</c:v>
                </c:pt>
                <c:pt idx="240">
                  <c:v>15829</c:v>
                </c:pt>
                <c:pt idx="241">
                  <c:v>15834</c:v>
                </c:pt>
                <c:pt idx="242">
                  <c:v>15834</c:v>
                </c:pt>
                <c:pt idx="243">
                  <c:v>15835</c:v>
                </c:pt>
                <c:pt idx="244">
                  <c:v>15837</c:v>
                </c:pt>
                <c:pt idx="245">
                  <c:v>15839</c:v>
                </c:pt>
                <c:pt idx="246">
                  <c:v>15840</c:v>
                </c:pt>
                <c:pt idx="247">
                  <c:v>15845</c:v>
                </c:pt>
                <c:pt idx="248">
                  <c:v>15847</c:v>
                </c:pt>
                <c:pt idx="249">
                  <c:v>15848</c:v>
                </c:pt>
                <c:pt idx="250">
                  <c:v>15848</c:v>
                </c:pt>
                <c:pt idx="251">
                  <c:v>15849</c:v>
                </c:pt>
                <c:pt idx="252">
                  <c:v>15853</c:v>
                </c:pt>
                <c:pt idx="253">
                  <c:v>15853</c:v>
                </c:pt>
                <c:pt idx="254">
                  <c:v>15855</c:v>
                </c:pt>
                <c:pt idx="255">
                  <c:v>15856</c:v>
                </c:pt>
                <c:pt idx="256">
                  <c:v>15856</c:v>
                </c:pt>
                <c:pt idx="257">
                  <c:v>15856</c:v>
                </c:pt>
                <c:pt idx="258">
                  <c:v>15860</c:v>
                </c:pt>
                <c:pt idx="259">
                  <c:v>15864</c:v>
                </c:pt>
                <c:pt idx="260">
                  <c:v>15865</c:v>
                </c:pt>
                <c:pt idx="261">
                  <c:v>15868</c:v>
                </c:pt>
                <c:pt idx="262">
                  <c:v>15868</c:v>
                </c:pt>
                <c:pt idx="263">
                  <c:v>15868</c:v>
                </c:pt>
                <c:pt idx="264">
                  <c:v>15868</c:v>
                </c:pt>
                <c:pt idx="265">
                  <c:v>15870</c:v>
                </c:pt>
                <c:pt idx="266">
                  <c:v>15871</c:v>
                </c:pt>
                <c:pt idx="267">
                  <c:v>15872</c:v>
                </c:pt>
                <c:pt idx="268">
                  <c:v>15873</c:v>
                </c:pt>
                <c:pt idx="269">
                  <c:v>15873</c:v>
                </c:pt>
                <c:pt idx="270">
                  <c:v>15873</c:v>
                </c:pt>
                <c:pt idx="271">
                  <c:v>15873</c:v>
                </c:pt>
                <c:pt idx="272">
                  <c:v>15873</c:v>
                </c:pt>
                <c:pt idx="273">
                  <c:v>15873</c:v>
                </c:pt>
                <c:pt idx="274">
                  <c:v>15873</c:v>
                </c:pt>
                <c:pt idx="275">
                  <c:v>15874</c:v>
                </c:pt>
                <c:pt idx="276">
                  <c:v>15874</c:v>
                </c:pt>
                <c:pt idx="277">
                  <c:v>15874</c:v>
                </c:pt>
                <c:pt idx="278">
                  <c:v>15874</c:v>
                </c:pt>
                <c:pt idx="279">
                  <c:v>15874</c:v>
                </c:pt>
                <c:pt idx="280">
                  <c:v>15874</c:v>
                </c:pt>
                <c:pt idx="281">
                  <c:v>15874</c:v>
                </c:pt>
                <c:pt idx="282">
                  <c:v>15874</c:v>
                </c:pt>
                <c:pt idx="283">
                  <c:v>15874</c:v>
                </c:pt>
                <c:pt idx="284">
                  <c:v>15874</c:v>
                </c:pt>
                <c:pt idx="285">
                  <c:v>15874</c:v>
                </c:pt>
                <c:pt idx="286">
                  <c:v>15874</c:v>
                </c:pt>
                <c:pt idx="287">
                  <c:v>15874</c:v>
                </c:pt>
                <c:pt idx="288">
                  <c:v>15874</c:v>
                </c:pt>
                <c:pt idx="289">
                  <c:v>15874</c:v>
                </c:pt>
                <c:pt idx="290">
                  <c:v>15874</c:v>
                </c:pt>
                <c:pt idx="291">
                  <c:v>15874</c:v>
                </c:pt>
                <c:pt idx="292">
                  <c:v>15874</c:v>
                </c:pt>
                <c:pt idx="293">
                  <c:v>15874</c:v>
                </c:pt>
                <c:pt idx="294">
                  <c:v>15874</c:v>
                </c:pt>
                <c:pt idx="295">
                  <c:v>15874</c:v>
                </c:pt>
                <c:pt idx="296">
                  <c:v>15874</c:v>
                </c:pt>
                <c:pt idx="297">
                  <c:v>15874</c:v>
                </c:pt>
                <c:pt idx="298">
                  <c:v>15874</c:v>
                </c:pt>
                <c:pt idx="299">
                  <c:v>15874</c:v>
                </c:pt>
                <c:pt idx="300">
                  <c:v>15874</c:v>
                </c:pt>
                <c:pt idx="301">
                  <c:v>15874</c:v>
                </c:pt>
                <c:pt idx="302">
                  <c:v>15875</c:v>
                </c:pt>
                <c:pt idx="303">
                  <c:v>15875</c:v>
                </c:pt>
                <c:pt idx="304">
                  <c:v>15875</c:v>
                </c:pt>
                <c:pt idx="305">
                  <c:v>15875</c:v>
                </c:pt>
                <c:pt idx="306">
                  <c:v>15875</c:v>
                </c:pt>
                <c:pt idx="307">
                  <c:v>15875</c:v>
                </c:pt>
                <c:pt idx="308">
                  <c:v>15875</c:v>
                </c:pt>
                <c:pt idx="309">
                  <c:v>15875</c:v>
                </c:pt>
                <c:pt idx="310">
                  <c:v>15875</c:v>
                </c:pt>
                <c:pt idx="311">
                  <c:v>15875</c:v>
                </c:pt>
                <c:pt idx="312">
                  <c:v>15875</c:v>
                </c:pt>
                <c:pt idx="313">
                  <c:v>15876</c:v>
                </c:pt>
                <c:pt idx="314">
                  <c:v>15876</c:v>
                </c:pt>
                <c:pt idx="315">
                  <c:v>15876</c:v>
                </c:pt>
                <c:pt idx="316">
                  <c:v>15876</c:v>
                </c:pt>
                <c:pt idx="317">
                  <c:v>15876</c:v>
                </c:pt>
                <c:pt idx="318">
                  <c:v>15876</c:v>
                </c:pt>
                <c:pt idx="319">
                  <c:v>15876</c:v>
                </c:pt>
                <c:pt idx="320">
                  <c:v>15876</c:v>
                </c:pt>
                <c:pt idx="321">
                  <c:v>15876</c:v>
                </c:pt>
                <c:pt idx="322">
                  <c:v>15876</c:v>
                </c:pt>
                <c:pt idx="323">
                  <c:v>15877</c:v>
                </c:pt>
                <c:pt idx="324">
                  <c:v>15877</c:v>
                </c:pt>
                <c:pt idx="325">
                  <c:v>15877</c:v>
                </c:pt>
                <c:pt idx="326">
                  <c:v>15877</c:v>
                </c:pt>
                <c:pt idx="327">
                  <c:v>15877</c:v>
                </c:pt>
                <c:pt idx="328">
                  <c:v>15877</c:v>
                </c:pt>
                <c:pt idx="329">
                  <c:v>15878</c:v>
                </c:pt>
                <c:pt idx="330">
                  <c:v>15880</c:v>
                </c:pt>
                <c:pt idx="331">
                  <c:v>15880</c:v>
                </c:pt>
                <c:pt idx="332">
                  <c:v>15880</c:v>
                </c:pt>
                <c:pt idx="333">
                  <c:v>15880</c:v>
                </c:pt>
                <c:pt idx="334">
                  <c:v>15880</c:v>
                </c:pt>
                <c:pt idx="335">
                  <c:v>15880</c:v>
                </c:pt>
                <c:pt idx="336">
                  <c:v>15880</c:v>
                </c:pt>
                <c:pt idx="337">
                  <c:v>15880</c:v>
                </c:pt>
                <c:pt idx="338">
                  <c:v>15880</c:v>
                </c:pt>
                <c:pt idx="339">
                  <c:v>15880</c:v>
                </c:pt>
                <c:pt idx="340">
                  <c:v>15880</c:v>
                </c:pt>
                <c:pt idx="341">
                  <c:v>15881</c:v>
                </c:pt>
                <c:pt idx="342">
                  <c:v>15881</c:v>
                </c:pt>
                <c:pt idx="343">
                  <c:v>15881</c:v>
                </c:pt>
                <c:pt idx="344">
                  <c:v>15882</c:v>
                </c:pt>
                <c:pt idx="345">
                  <c:v>15882</c:v>
                </c:pt>
                <c:pt idx="346">
                  <c:v>15882</c:v>
                </c:pt>
                <c:pt idx="347">
                  <c:v>15882</c:v>
                </c:pt>
                <c:pt idx="348">
                  <c:v>15882</c:v>
                </c:pt>
                <c:pt idx="349">
                  <c:v>15882</c:v>
                </c:pt>
                <c:pt idx="350">
                  <c:v>15882</c:v>
                </c:pt>
                <c:pt idx="351">
                  <c:v>15882</c:v>
                </c:pt>
                <c:pt idx="352">
                  <c:v>15882</c:v>
                </c:pt>
                <c:pt idx="353">
                  <c:v>15882</c:v>
                </c:pt>
                <c:pt idx="354">
                  <c:v>15882</c:v>
                </c:pt>
                <c:pt idx="355">
                  <c:v>15882</c:v>
                </c:pt>
                <c:pt idx="356">
                  <c:v>15883</c:v>
                </c:pt>
                <c:pt idx="357">
                  <c:v>15883</c:v>
                </c:pt>
                <c:pt idx="358">
                  <c:v>15883</c:v>
                </c:pt>
                <c:pt idx="359">
                  <c:v>15884</c:v>
                </c:pt>
                <c:pt idx="360">
                  <c:v>15885</c:v>
                </c:pt>
                <c:pt idx="361">
                  <c:v>15886</c:v>
                </c:pt>
                <c:pt idx="362">
                  <c:v>15886</c:v>
                </c:pt>
                <c:pt idx="363">
                  <c:v>15886</c:v>
                </c:pt>
                <c:pt idx="364">
                  <c:v>15886</c:v>
                </c:pt>
                <c:pt idx="365">
                  <c:v>15888</c:v>
                </c:pt>
                <c:pt idx="366">
                  <c:v>15889</c:v>
                </c:pt>
                <c:pt idx="367">
                  <c:v>15890</c:v>
                </c:pt>
                <c:pt idx="368">
                  <c:v>15890</c:v>
                </c:pt>
                <c:pt idx="369">
                  <c:v>15890</c:v>
                </c:pt>
                <c:pt idx="370">
                  <c:v>15891</c:v>
                </c:pt>
                <c:pt idx="371">
                  <c:v>15893</c:v>
                </c:pt>
                <c:pt idx="372">
                  <c:v>15894</c:v>
                </c:pt>
                <c:pt idx="373">
                  <c:v>15895</c:v>
                </c:pt>
                <c:pt idx="374">
                  <c:v>15895</c:v>
                </c:pt>
                <c:pt idx="375">
                  <c:v>15895</c:v>
                </c:pt>
                <c:pt idx="376">
                  <c:v>15896</c:v>
                </c:pt>
                <c:pt idx="377">
                  <c:v>15896</c:v>
                </c:pt>
                <c:pt idx="378">
                  <c:v>15897</c:v>
                </c:pt>
                <c:pt idx="379">
                  <c:v>15897</c:v>
                </c:pt>
                <c:pt idx="380">
                  <c:v>15897</c:v>
                </c:pt>
                <c:pt idx="381">
                  <c:v>15897</c:v>
                </c:pt>
                <c:pt idx="382">
                  <c:v>15898</c:v>
                </c:pt>
                <c:pt idx="383">
                  <c:v>15898</c:v>
                </c:pt>
                <c:pt idx="384">
                  <c:v>15902</c:v>
                </c:pt>
                <c:pt idx="385">
                  <c:v>15905</c:v>
                </c:pt>
                <c:pt idx="386">
                  <c:v>15907</c:v>
                </c:pt>
                <c:pt idx="387">
                  <c:v>15907</c:v>
                </c:pt>
                <c:pt idx="388">
                  <c:v>15907</c:v>
                </c:pt>
                <c:pt idx="389">
                  <c:v>15908</c:v>
                </c:pt>
                <c:pt idx="390">
                  <c:v>15909</c:v>
                </c:pt>
                <c:pt idx="391">
                  <c:v>15914</c:v>
                </c:pt>
                <c:pt idx="392">
                  <c:v>15916</c:v>
                </c:pt>
                <c:pt idx="393">
                  <c:v>15923</c:v>
                </c:pt>
                <c:pt idx="394">
                  <c:v>15926</c:v>
                </c:pt>
                <c:pt idx="395">
                  <c:v>15928</c:v>
                </c:pt>
                <c:pt idx="396">
                  <c:v>15928</c:v>
                </c:pt>
                <c:pt idx="397">
                  <c:v>15928</c:v>
                </c:pt>
                <c:pt idx="398">
                  <c:v>15931</c:v>
                </c:pt>
                <c:pt idx="399">
                  <c:v>15936</c:v>
                </c:pt>
                <c:pt idx="400">
                  <c:v>15938</c:v>
                </c:pt>
                <c:pt idx="401">
                  <c:v>15939</c:v>
                </c:pt>
                <c:pt idx="402">
                  <c:v>15941</c:v>
                </c:pt>
                <c:pt idx="403">
                  <c:v>15942</c:v>
                </c:pt>
                <c:pt idx="404">
                  <c:v>15942</c:v>
                </c:pt>
                <c:pt idx="405">
                  <c:v>15944</c:v>
                </c:pt>
                <c:pt idx="406">
                  <c:v>15947</c:v>
                </c:pt>
                <c:pt idx="407">
                  <c:v>15948</c:v>
                </c:pt>
                <c:pt idx="408">
                  <c:v>15951</c:v>
                </c:pt>
                <c:pt idx="409">
                  <c:v>15957</c:v>
                </c:pt>
                <c:pt idx="410">
                  <c:v>15959</c:v>
                </c:pt>
                <c:pt idx="411">
                  <c:v>15960</c:v>
                </c:pt>
                <c:pt idx="412">
                  <c:v>15972</c:v>
                </c:pt>
                <c:pt idx="413">
                  <c:v>15979</c:v>
                </c:pt>
                <c:pt idx="414">
                  <c:v>15988</c:v>
                </c:pt>
                <c:pt idx="415">
                  <c:v>15995</c:v>
                </c:pt>
                <c:pt idx="416">
                  <c:v>16005</c:v>
                </c:pt>
                <c:pt idx="417">
                  <c:v>16005</c:v>
                </c:pt>
                <c:pt idx="418">
                  <c:v>16008</c:v>
                </c:pt>
                <c:pt idx="419">
                  <c:v>16026</c:v>
                </c:pt>
                <c:pt idx="420">
                  <c:v>16031</c:v>
                </c:pt>
                <c:pt idx="421">
                  <c:v>16047</c:v>
                </c:pt>
                <c:pt idx="422">
                  <c:v>16050</c:v>
                </c:pt>
                <c:pt idx="423">
                  <c:v>16058</c:v>
                </c:pt>
                <c:pt idx="424">
                  <c:v>16063</c:v>
                </c:pt>
                <c:pt idx="425">
                  <c:v>16067</c:v>
                </c:pt>
                <c:pt idx="426">
                  <c:v>16107</c:v>
                </c:pt>
                <c:pt idx="427">
                  <c:v>16132</c:v>
                </c:pt>
                <c:pt idx="428">
                  <c:v>16151</c:v>
                </c:pt>
                <c:pt idx="429">
                  <c:v>16175</c:v>
                </c:pt>
                <c:pt idx="430">
                  <c:v>16202</c:v>
                </c:pt>
                <c:pt idx="431">
                  <c:v>16215</c:v>
                </c:pt>
                <c:pt idx="432">
                  <c:v>16220</c:v>
                </c:pt>
                <c:pt idx="433">
                  <c:v>16270</c:v>
                </c:pt>
                <c:pt idx="434">
                  <c:v>16295</c:v>
                </c:pt>
                <c:pt idx="435">
                  <c:v>16323</c:v>
                </c:pt>
                <c:pt idx="436">
                  <c:v>16357</c:v>
                </c:pt>
                <c:pt idx="437">
                  <c:v>16391</c:v>
                </c:pt>
                <c:pt idx="438">
                  <c:v>16411</c:v>
                </c:pt>
                <c:pt idx="439">
                  <c:v>16425</c:v>
                </c:pt>
                <c:pt idx="440">
                  <c:v>16479</c:v>
                </c:pt>
                <c:pt idx="441">
                  <c:v>16512</c:v>
                </c:pt>
                <c:pt idx="442">
                  <c:v>16525</c:v>
                </c:pt>
                <c:pt idx="443">
                  <c:v>16565</c:v>
                </c:pt>
                <c:pt idx="444">
                  <c:v>16616</c:v>
                </c:pt>
                <c:pt idx="445">
                  <c:v>16627</c:v>
                </c:pt>
                <c:pt idx="446">
                  <c:v>16634</c:v>
                </c:pt>
                <c:pt idx="447">
                  <c:v>16696</c:v>
                </c:pt>
                <c:pt idx="448">
                  <c:v>16737</c:v>
                </c:pt>
                <c:pt idx="449">
                  <c:v>16780</c:v>
                </c:pt>
                <c:pt idx="450">
                  <c:v>16823</c:v>
                </c:pt>
                <c:pt idx="451">
                  <c:v>16872</c:v>
                </c:pt>
                <c:pt idx="452">
                  <c:v>16894</c:v>
                </c:pt>
                <c:pt idx="453">
                  <c:v>16905</c:v>
                </c:pt>
                <c:pt idx="454">
                  <c:v>16942</c:v>
                </c:pt>
                <c:pt idx="455">
                  <c:v>17000</c:v>
                </c:pt>
                <c:pt idx="456">
                  <c:v>17037</c:v>
                </c:pt>
                <c:pt idx="457">
                  <c:v>17082</c:v>
                </c:pt>
                <c:pt idx="458">
                  <c:v>17113</c:v>
                </c:pt>
                <c:pt idx="459">
                  <c:v>17141</c:v>
                </c:pt>
                <c:pt idx="460">
                  <c:v>17150</c:v>
                </c:pt>
                <c:pt idx="461">
                  <c:v>17194</c:v>
                </c:pt>
                <c:pt idx="462">
                  <c:v>17238</c:v>
                </c:pt>
                <c:pt idx="463">
                  <c:v>17265</c:v>
                </c:pt>
                <c:pt idx="464">
                  <c:v>17299</c:v>
                </c:pt>
                <c:pt idx="465">
                  <c:v>17314</c:v>
                </c:pt>
                <c:pt idx="466">
                  <c:v>173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List1!$D$2:$D$468</c:f>
              <c:numCache>
                <c:formatCode>General</c:formatCode>
                <c:ptCount val="467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7</c:v>
                </c:pt>
                <c:pt idx="31">
                  <c:v>380</c:v>
                </c:pt>
                <c:pt idx="32">
                  <c:v>447</c:v>
                </c:pt>
                <c:pt idx="33">
                  <c:v>530</c:v>
                </c:pt>
                <c:pt idx="34">
                  <c:v>786</c:v>
                </c:pt>
                <c:pt idx="35">
                  <c:v>914</c:v>
                </c:pt>
                <c:pt idx="36">
                  <c:v>1001</c:v>
                </c:pt>
                <c:pt idx="37">
                  <c:v>1163</c:v>
                </c:pt>
                <c:pt idx="38">
                  <c:v>1389</c:v>
                </c:pt>
                <c:pt idx="39">
                  <c:v>1470</c:v>
                </c:pt>
                <c:pt idx="40">
                  <c:v>1506</c:v>
                </c:pt>
                <c:pt idx="41">
                  <c:v>1801</c:v>
                </c:pt>
                <c:pt idx="42">
                  <c:v>2177</c:v>
                </c:pt>
                <c:pt idx="43">
                  <c:v>2549</c:v>
                </c:pt>
                <c:pt idx="44">
                  <c:v>2939</c:v>
                </c:pt>
                <c:pt idx="45">
                  <c:v>3356</c:v>
                </c:pt>
                <c:pt idx="46">
                  <c:v>3614</c:v>
                </c:pt>
                <c:pt idx="47">
                  <c:v>3703</c:v>
                </c:pt>
                <c:pt idx="48">
                  <c:v>4134</c:v>
                </c:pt>
                <c:pt idx="49">
                  <c:v>4527</c:v>
                </c:pt>
                <c:pt idx="50">
                  <c:v>5110</c:v>
                </c:pt>
                <c:pt idx="51">
                  <c:v>5572</c:v>
                </c:pt>
                <c:pt idx="52">
                  <c:v>6321</c:v>
                </c:pt>
                <c:pt idx="53">
                  <c:v>6735</c:v>
                </c:pt>
                <c:pt idx="54">
                  <c:v>7020</c:v>
                </c:pt>
                <c:pt idx="55">
                  <c:v>7782</c:v>
                </c:pt>
                <c:pt idx="56">
                  <c:v>8700</c:v>
                </c:pt>
                <c:pt idx="57">
                  <c:v>9094</c:v>
                </c:pt>
                <c:pt idx="58">
                  <c:v>10100</c:v>
                </c:pt>
                <c:pt idx="59">
                  <c:v>11019</c:v>
                </c:pt>
                <c:pt idx="60">
                  <c:v>11537</c:v>
                </c:pt>
                <c:pt idx="61">
                  <c:v>11865</c:v>
                </c:pt>
                <c:pt idx="62">
                  <c:v>12493</c:v>
                </c:pt>
                <c:pt idx="63">
                  <c:v>13055</c:v>
                </c:pt>
                <c:pt idx="64">
                  <c:v>13808</c:v>
                </c:pt>
                <c:pt idx="65">
                  <c:v>14619</c:v>
                </c:pt>
                <c:pt idx="66">
                  <c:v>15347</c:v>
                </c:pt>
                <c:pt idx="67">
                  <c:v>15678</c:v>
                </c:pt>
                <c:pt idx="68">
                  <c:v>15804</c:v>
                </c:pt>
                <c:pt idx="69">
                  <c:v>16204</c:v>
                </c:pt>
                <c:pt idx="70">
                  <c:v>16793</c:v>
                </c:pt>
                <c:pt idx="71">
                  <c:v>17732</c:v>
                </c:pt>
                <c:pt idx="72">
                  <c:v>18459</c:v>
                </c:pt>
                <c:pt idx="73">
                  <c:v>19144</c:v>
                </c:pt>
                <c:pt idx="74">
                  <c:v>19396</c:v>
                </c:pt>
                <c:pt idx="75">
                  <c:v>19590</c:v>
                </c:pt>
                <c:pt idx="76">
                  <c:v>20149</c:v>
                </c:pt>
                <c:pt idx="77">
                  <c:v>20332</c:v>
                </c:pt>
                <c:pt idx="78">
                  <c:v>20760</c:v>
                </c:pt>
                <c:pt idx="79">
                  <c:v>21156</c:v>
                </c:pt>
                <c:pt idx="80">
                  <c:v>21514</c:v>
                </c:pt>
                <c:pt idx="81">
                  <c:v>21644</c:v>
                </c:pt>
                <c:pt idx="82">
                  <c:v>21752</c:v>
                </c:pt>
                <c:pt idx="83">
                  <c:v>22268</c:v>
                </c:pt>
                <c:pt idx="84">
                  <c:v>22571</c:v>
                </c:pt>
                <c:pt idx="85">
                  <c:v>22787</c:v>
                </c:pt>
                <c:pt idx="86">
                  <c:v>23036</c:v>
                </c:pt>
                <c:pt idx="87">
                  <c:v>23254</c:v>
                </c:pt>
                <c:pt idx="88">
                  <c:v>23355</c:v>
                </c:pt>
                <c:pt idx="89">
                  <c:v>23398</c:v>
                </c:pt>
                <c:pt idx="90">
                  <c:v>23716</c:v>
                </c:pt>
                <c:pt idx="91">
                  <c:v>23924</c:v>
                </c:pt>
                <c:pt idx="92">
                  <c:v>24122</c:v>
                </c:pt>
                <c:pt idx="93">
                  <c:v>24307</c:v>
                </c:pt>
                <c:pt idx="94">
                  <c:v>24538</c:v>
                </c:pt>
                <c:pt idx="95">
                  <c:v>24666</c:v>
                </c:pt>
                <c:pt idx="96">
                  <c:v>24711</c:v>
                </c:pt>
                <c:pt idx="97">
                  <c:v>24973</c:v>
                </c:pt>
                <c:pt idx="98">
                  <c:v>25138</c:v>
                </c:pt>
                <c:pt idx="99">
                  <c:v>25340</c:v>
                </c:pt>
                <c:pt idx="100">
                  <c:v>25482</c:v>
                </c:pt>
                <c:pt idx="101">
                  <c:v>25788</c:v>
                </c:pt>
                <c:pt idx="102">
                  <c:v>25876</c:v>
                </c:pt>
                <c:pt idx="103">
                  <c:v>25942</c:v>
                </c:pt>
                <c:pt idx="104">
                  <c:v>26217</c:v>
                </c:pt>
                <c:pt idx="105">
                  <c:v>26421</c:v>
                </c:pt>
                <c:pt idx="106">
                  <c:v>26615</c:v>
                </c:pt>
                <c:pt idx="107">
                  <c:v>26734</c:v>
                </c:pt>
                <c:pt idx="108">
                  <c:v>27038</c:v>
                </c:pt>
                <c:pt idx="109">
                  <c:v>27126</c:v>
                </c:pt>
                <c:pt idx="110">
                  <c:v>27174</c:v>
                </c:pt>
                <c:pt idx="111">
                  <c:v>27510</c:v>
                </c:pt>
                <c:pt idx="112">
                  <c:v>27797</c:v>
                </c:pt>
                <c:pt idx="113">
                  <c:v>28035</c:v>
                </c:pt>
                <c:pt idx="114">
                  <c:v>28081</c:v>
                </c:pt>
                <c:pt idx="115">
                  <c:v>28196</c:v>
                </c:pt>
                <c:pt idx="116">
                  <c:v>28323</c:v>
                </c:pt>
                <c:pt idx="117">
                  <c:v>28467</c:v>
                </c:pt>
                <c:pt idx="118">
                  <c:v>28823</c:v>
                </c:pt>
                <c:pt idx="119">
                  <c:v>29154</c:v>
                </c:pt>
                <c:pt idx="120">
                  <c:v>29409</c:v>
                </c:pt>
                <c:pt idx="121">
                  <c:v>29627</c:v>
                </c:pt>
                <c:pt idx="122">
                  <c:v>29720</c:v>
                </c:pt>
                <c:pt idx="123">
                  <c:v>29838</c:v>
                </c:pt>
                <c:pt idx="124">
                  <c:v>29914</c:v>
                </c:pt>
                <c:pt idx="125">
                  <c:v>30454</c:v>
                </c:pt>
                <c:pt idx="126">
                  <c:v>30749</c:v>
                </c:pt>
                <c:pt idx="127">
                  <c:v>31025</c:v>
                </c:pt>
                <c:pt idx="128">
                  <c:v>31356</c:v>
                </c:pt>
                <c:pt idx="129">
                  <c:v>31662</c:v>
                </c:pt>
                <c:pt idx="130">
                  <c:v>31771</c:v>
                </c:pt>
                <c:pt idx="131">
                  <c:v>31826</c:v>
                </c:pt>
                <c:pt idx="132">
                  <c:v>32293</c:v>
                </c:pt>
                <c:pt idx="133">
                  <c:v>32514</c:v>
                </c:pt>
                <c:pt idx="134">
                  <c:v>32794</c:v>
                </c:pt>
                <c:pt idx="135">
                  <c:v>32944</c:v>
                </c:pt>
                <c:pt idx="136">
                  <c:v>33095</c:v>
                </c:pt>
                <c:pt idx="137">
                  <c:v>33162</c:v>
                </c:pt>
                <c:pt idx="138">
                  <c:v>33233</c:v>
                </c:pt>
                <c:pt idx="139">
                  <c:v>33518</c:v>
                </c:pt>
                <c:pt idx="140">
                  <c:v>33672</c:v>
                </c:pt>
                <c:pt idx="141">
                  <c:v>33889</c:v>
                </c:pt>
                <c:pt idx="142">
                  <c:v>34055</c:v>
                </c:pt>
                <c:pt idx="143">
                  <c:v>34247</c:v>
                </c:pt>
                <c:pt idx="144">
                  <c:v>34326</c:v>
                </c:pt>
                <c:pt idx="145">
                  <c:v>34362</c:v>
                </c:pt>
                <c:pt idx="146">
                  <c:v>34535</c:v>
                </c:pt>
                <c:pt idx="147">
                  <c:v>34652</c:v>
                </c:pt>
                <c:pt idx="148">
                  <c:v>34806</c:v>
                </c:pt>
                <c:pt idx="149">
                  <c:v>34904</c:v>
                </c:pt>
                <c:pt idx="150">
                  <c:v>34987</c:v>
                </c:pt>
                <c:pt idx="151">
                  <c:v>35065</c:v>
                </c:pt>
                <c:pt idx="152">
                  <c:v>35083</c:v>
                </c:pt>
                <c:pt idx="153">
                  <c:v>35268</c:v>
                </c:pt>
                <c:pt idx="154">
                  <c:v>35430</c:v>
                </c:pt>
                <c:pt idx="155">
                  <c:v>35590</c:v>
                </c:pt>
                <c:pt idx="156">
                  <c:v>35714</c:v>
                </c:pt>
                <c:pt idx="157">
                  <c:v>35844</c:v>
                </c:pt>
                <c:pt idx="158">
                  <c:v>35896</c:v>
                </c:pt>
                <c:pt idx="159">
                  <c:v>35929</c:v>
                </c:pt>
                <c:pt idx="160">
                  <c:v>36064</c:v>
                </c:pt>
                <c:pt idx="161">
                  <c:v>36151</c:v>
                </c:pt>
                <c:pt idx="162">
                  <c:v>36251</c:v>
                </c:pt>
                <c:pt idx="163">
                  <c:v>36354</c:v>
                </c:pt>
                <c:pt idx="164">
                  <c:v>36445</c:v>
                </c:pt>
                <c:pt idx="165">
                  <c:v>36468</c:v>
                </c:pt>
                <c:pt idx="166">
                  <c:v>36491</c:v>
                </c:pt>
                <c:pt idx="167">
                  <c:v>36590</c:v>
                </c:pt>
                <c:pt idx="168">
                  <c:v>36640</c:v>
                </c:pt>
                <c:pt idx="169">
                  <c:v>36706</c:v>
                </c:pt>
                <c:pt idx="170">
                  <c:v>36762</c:v>
                </c:pt>
                <c:pt idx="171">
                  <c:v>36824</c:v>
                </c:pt>
                <c:pt idx="172">
                  <c:v>36848</c:v>
                </c:pt>
                <c:pt idx="173">
                  <c:v>36871</c:v>
                </c:pt>
                <c:pt idx="174">
                  <c:v>37033</c:v>
                </c:pt>
                <c:pt idx="175">
                  <c:v>37112</c:v>
                </c:pt>
                <c:pt idx="176">
                  <c:v>37180</c:v>
                </c:pt>
                <c:pt idx="177">
                  <c:v>37257</c:v>
                </c:pt>
                <c:pt idx="178">
                  <c:v>37342</c:v>
                </c:pt>
                <c:pt idx="179">
                  <c:v>37360</c:v>
                </c:pt>
                <c:pt idx="180">
                  <c:v>37372</c:v>
                </c:pt>
                <c:pt idx="181">
                  <c:v>37505</c:v>
                </c:pt>
                <c:pt idx="182">
                  <c:v>37572</c:v>
                </c:pt>
                <c:pt idx="183">
                  <c:v>37673</c:v>
                </c:pt>
                <c:pt idx="184">
                  <c:v>37720</c:v>
                </c:pt>
                <c:pt idx="185">
                  <c:v>37770</c:v>
                </c:pt>
                <c:pt idx="186">
                  <c:v>37789</c:v>
                </c:pt>
                <c:pt idx="187">
                  <c:v>37804</c:v>
                </c:pt>
                <c:pt idx="188">
                  <c:v>37890</c:v>
                </c:pt>
                <c:pt idx="189">
                  <c:v>38002</c:v>
                </c:pt>
                <c:pt idx="190">
                  <c:v>38086</c:v>
                </c:pt>
                <c:pt idx="191">
                  <c:v>38124</c:v>
                </c:pt>
                <c:pt idx="192">
                  <c:v>38167</c:v>
                </c:pt>
                <c:pt idx="193">
                  <c:v>38187</c:v>
                </c:pt>
                <c:pt idx="194">
                  <c:v>38200</c:v>
                </c:pt>
                <c:pt idx="195">
                  <c:v>38261</c:v>
                </c:pt>
                <c:pt idx="196">
                  <c:v>38304</c:v>
                </c:pt>
                <c:pt idx="197">
                  <c:v>38334</c:v>
                </c:pt>
                <c:pt idx="198">
                  <c:v>38387</c:v>
                </c:pt>
                <c:pt idx="199">
                  <c:v>38425</c:v>
                </c:pt>
                <c:pt idx="200">
                  <c:v>38435</c:v>
                </c:pt>
                <c:pt idx="201">
                  <c:v>38443</c:v>
                </c:pt>
                <c:pt idx="202">
                  <c:v>38487</c:v>
                </c:pt>
                <c:pt idx="203">
                  <c:v>38533</c:v>
                </c:pt>
                <c:pt idx="204">
                  <c:v>38562</c:v>
                </c:pt>
                <c:pt idx="205">
                  <c:v>38601</c:v>
                </c:pt>
                <c:pt idx="206">
                  <c:v>38623</c:v>
                </c:pt>
                <c:pt idx="207">
                  <c:v>38629</c:v>
                </c:pt>
                <c:pt idx="208">
                  <c:v>38634</c:v>
                </c:pt>
                <c:pt idx="209">
                  <c:v>38674</c:v>
                </c:pt>
                <c:pt idx="210">
                  <c:v>38698</c:v>
                </c:pt>
                <c:pt idx="211">
                  <c:v>38720</c:v>
                </c:pt>
                <c:pt idx="212">
                  <c:v>38741</c:v>
                </c:pt>
                <c:pt idx="213">
                  <c:v>38747</c:v>
                </c:pt>
                <c:pt idx="214">
                  <c:v>38753</c:v>
                </c:pt>
                <c:pt idx="215">
                  <c:v>38757</c:v>
                </c:pt>
                <c:pt idx="216">
                  <c:v>38763</c:v>
                </c:pt>
                <c:pt idx="217">
                  <c:v>38789</c:v>
                </c:pt>
                <c:pt idx="218">
                  <c:v>38823</c:v>
                </c:pt>
                <c:pt idx="219">
                  <c:v>38840</c:v>
                </c:pt>
                <c:pt idx="220">
                  <c:v>38851</c:v>
                </c:pt>
                <c:pt idx="221">
                  <c:v>38856</c:v>
                </c:pt>
                <c:pt idx="222">
                  <c:v>38857</c:v>
                </c:pt>
                <c:pt idx="223">
                  <c:v>38865</c:v>
                </c:pt>
                <c:pt idx="224">
                  <c:v>38873</c:v>
                </c:pt>
                <c:pt idx="225">
                  <c:v>38878</c:v>
                </c:pt>
                <c:pt idx="226">
                  <c:v>38887</c:v>
                </c:pt>
                <c:pt idx="227">
                  <c:v>38894</c:v>
                </c:pt>
                <c:pt idx="228">
                  <c:v>38896</c:v>
                </c:pt>
                <c:pt idx="229">
                  <c:v>38898</c:v>
                </c:pt>
                <c:pt idx="230">
                  <c:v>38913</c:v>
                </c:pt>
                <c:pt idx="231">
                  <c:v>38920</c:v>
                </c:pt>
                <c:pt idx="232">
                  <c:v>38926</c:v>
                </c:pt>
                <c:pt idx="233">
                  <c:v>38939</c:v>
                </c:pt>
                <c:pt idx="234">
                  <c:v>38946</c:v>
                </c:pt>
                <c:pt idx="235">
                  <c:v>38948</c:v>
                </c:pt>
                <c:pt idx="236">
                  <c:v>38949</c:v>
                </c:pt>
                <c:pt idx="237">
                  <c:v>38956</c:v>
                </c:pt>
                <c:pt idx="238">
                  <c:v>38965</c:v>
                </c:pt>
                <c:pt idx="239">
                  <c:v>38968</c:v>
                </c:pt>
                <c:pt idx="240">
                  <c:v>38972</c:v>
                </c:pt>
                <c:pt idx="241">
                  <c:v>38978</c:v>
                </c:pt>
                <c:pt idx="242">
                  <c:v>38978</c:v>
                </c:pt>
                <c:pt idx="243">
                  <c:v>38979</c:v>
                </c:pt>
                <c:pt idx="244">
                  <c:v>38981</c:v>
                </c:pt>
                <c:pt idx="245">
                  <c:v>38983</c:v>
                </c:pt>
                <c:pt idx="246">
                  <c:v>38986</c:v>
                </c:pt>
                <c:pt idx="247">
                  <c:v>38991</c:v>
                </c:pt>
                <c:pt idx="248">
                  <c:v>38994</c:v>
                </c:pt>
                <c:pt idx="249">
                  <c:v>38995</c:v>
                </c:pt>
                <c:pt idx="250">
                  <c:v>38998</c:v>
                </c:pt>
                <c:pt idx="251">
                  <c:v>39004</c:v>
                </c:pt>
                <c:pt idx="252">
                  <c:v>39010</c:v>
                </c:pt>
                <c:pt idx="253">
                  <c:v>39010</c:v>
                </c:pt>
                <c:pt idx="254">
                  <c:v>39014</c:v>
                </c:pt>
                <c:pt idx="255">
                  <c:v>39018</c:v>
                </c:pt>
                <c:pt idx="256">
                  <c:v>39019</c:v>
                </c:pt>
                <c:pt idx="257">
                  <c:v>39019</c:v>
                </c:pt>
                <c:pt idx="258">
                  <c:v>39026</c:v>
                </c:pt>
                <c:pt idx="259">
                  <c:v>39030</c:v>
                </c:pt>
                <c:pt idx="260">
                  <c:v>39033</c:v>
                </c:pt>
                <c:pt idx="261">
                  <c:v>39036</c:v>
                </c:pt>
                <c:pt idx="262">
                  <c:v>39036</c:v>
                </c:pt>
                <c:pt idx="263">
                  <c:v>39036</c:v>
                </c:pt>
                <c:pt idx="264">
                  <c:v>39036</c:v>
                </c:pt>
                <c:pt idx="265">
                  <c:v>39040</c:v>
                </c:pt>
                <c:pt idx="266">
                  <c:v>39041</c:v>
                </c:pt>
                <c:pt idx="267">
                  <c:v>39042</c:v>
                </c:pt>
                <c:pt idx="268">
                  <c:v>39043</c:v>
                </c:pt>
                <c:pt idx="269">
                  <c:v>39043</c:v>
                </c:pt>
                <c:pt idx="270">
                  <c:v>39043</c:v>
                </c:pt>
                <c:pt idx="271">
                  <c:v>39043</c:v>
                </c:pt>
                <c:pt idx="272">
                  <c:v>39043</c:v>
                </c:pt>
                <c:pt idx="273">
                  <c:v>39043</c:v>
                </c:pt>
                <c:pt idx="274">
                  <c:v>39046</c:v>
                </c:pt>
                <c:pt idx="275">
                  <c:v>39048</c:v>
                </c:pt>
                <c:pt idx="276">
                  <c:v>39048</c:v>
                </c:pt>
                <c:pt idx="277">
                  <c:v>39048</c:v>
                </c:pt>
                <c:pt idx="278">
                  <c:v>39048</c:v>
                </c:pt>
                <c:pt idx="279">
                  <c:v>39048</c:v>
                </c:pt>
                <c:pt idx="280">
                  <c:v>39048</c:v>
                </c:pt>
                <c:pt idx="281">
                  <c:v>39048</c:v>
                </c:pt>
                <c:pt idx="282">
                  <c:v>39048</c:v>
                </c:pt>
                <c:pt idx="283">
                  <c:v>39049</c:v>
                </c:pt>
                <c:pt idx="284">
                  <c:v>39049</c:v>
                </c:pt>
                <c:pt idx="285">
                  <c:v>39049</c:v>
                </c:pt>
                <c:pt idx="286">
                  <c:v>39049</c:v>
                </c:pt>
                <c:pt idx="287">
                  <c:v>39049</c:v>
                </c:pt>
                <c:pt idx="288">
                  <c:v>39049</c:v>
                </c:pt>
                <c:pt idx="289">
                  <c:v>39050</c:v>
                </c:pt>
                <c:pt idx="290">
                  <c:v>39050</c:v>
                </c:pt>
                <c:pt idx="291">
                  <c:v>39050</c:v>
                </c:pt>
                <c:pt idx="292">
                  <c:v>39050</c:v>
                </c:pt>
                <c:pt idx="293">
                  <c:v>39050</c:v>
                </c:pt>
                <c:pt idx="294">
                  <c:v>39050</c:v>
                </c:pt>
                <c:pt idx="295">
                  <c:v>39051</c:v>
                </c:pt>
                <c:pt idx="296">
                  <c:v>39052</c:v>
                </c:pt>
                <c:pt idx="297">
                  <c:v>39052</c:v>
                </c:pt>
                <c:pt idx="298">
                  <c:v>39052</c:v>
                </c:pt>
                <c:pt idx="299">
                  <c:v>39052</c:v>
                </c:pt>
                <c:pt idx="300">
                  <c:v>39052</c:v>
                </c:pt>
                <c:pt idx="301">
                  <c:v>39052</c:v>
                </c:pt>
                <c:pt idx="302">
                  <c:v>39053</c:v>
                </c:pt>
                <c:pt idx="303">
                  <c:v>39054</c:v>
                </c:pt>
                <c:pt idx="304">
                  <c:v>39054</c:v>
                </c:pt>
                <c:pt idx="305">
                  <c:v>39054</c:v>
                </c:pt>
                <c:pt idx="306">
                  <c:v>39055</c:v>
                </c:pt>
                <c:pt idx="307">
                  <c:v>39055</c:v>
                </c:pt>
                <c:pt idx="308">
                  <c:v>39055</c:v>
                </c:pt>
                <c:pt idx="309">
                  <c:v>39055</c:v>
                </c:pt>
                <c:pt idx="310">
                  <c:v>39056</c:v>
                </c:pt>
                <c:pt idx="311">
                  <c:v>39056</c:v>
                </c:pt>
                <c:pt idx="312">
                  <c:v>39056</c:v>
                </c:pt>
                <c:pt idx="313">
                  <c:v>39057</c:v>
                </c:pt>
                <c:pt idx="314">
                  <c:v>39057</c:v>
                </c:pt>
                <c:pt idx="315">
                  <c:v>39057</c:v>
                </c:pt>
                <c:pt idx="316">
                  <c:v>39057</c:v>
                </c:pt>
                <c:pt idx="317">
                  <c:v>39057</c:v>
                </c:pt>
                <c:pt idx="318">
                  <c:v>39057</c:v>
                </c:pt>
                <c:pt idx="319">
                  <c:v>39057</c:v>
                </c:pt>
                <c:pt idx="320">
                  <c:v>39057</c:v>
                </c:pt>
                <c:pt idx="321">
                  <c:v>39057</c:v>
                </c:pt>
                <c:pt idx="322">
                  <c:v>39057</c:v>
                </c:pt>
                <c:pt idx="323">
                  <c:v>39058</c:v>
                </c:pt>
                <c:pt idx="324">
                  <c:v>39058</c:v>
                </c:pt>
                <c:pt idx="325">
                  <c:v>39058</c:v>
                </c:pt>
                <c:pt idx="326">
                  <c:v>39059</c:v>
                </c:pt>
                <c:pt idx="327">
                  <c:v>39059</c:v>
                </c:pt>
                <c:pt idx="328">
                  <c:v>39059</c:v>
                </c:pt>
                <c:pt idx="329">
                  <c:v>39060</c:v>
                </c:pt>
                <c:pt idx="330">
                  <c:v>39062</c:v>
                </c:pt>
                <c:pt idx="331">
                  <c:v>39062</c:v>
                </c:pt>
                <c:pt idx="332">
                  <c:v>39062</c:v>
                </c:pt>
                <c:pt idx="333">
                  <c:v>39062</c:v>
                </c:pt>
                <c:pt idx="334">
                  <c:v>39062</c:v>
                </c:pt>
                <c:pt idx="335">
                  <c:v>39062</c:v>
                </c:pt>
                <c:pt idx="336">
                  <c:v>39062</c:v>
                </c:pt>
                <c:pt idx="337">
                  <c:v>39062</c:v>
                </c:pt>
                <c:pt idx="338">
                  <c:v>39062</c:v>
                </c:pt>
                <c:pt idx="339">
                  <c:v>39062</c:v>
                </c:pt>
                <c:pt idx="340">
                  <c:v>39062</c:v>
                </c:pt>
                <c:pt idx="341">
                  <c:v>39063</c:v>
                </c:pt>
                <c:pt idx="342">
                  <c:v>39063</c:v>
                </c:pt>
                <c:pt idx="343">
                  <c:v>39063</c:v>
                </c:pt>
                <c:pt idx="344">
                  <c:v>39064</c:v>
                </c:pt>
                <c:pt idx="345">
                  <c:v>39064</c:v>
                </c:pt>
                <c:pt idx="346">
                  <c:v>39064</c:v>
                </c:pt>
                <c:pt idx="347">
                  <c:v>39064</c:v>
                </c:pt>
                <c:pt idx="348">
                  <c:v>39064</c:v>
                </c:pt>
                <c:pt idx="349">
                  <c:v>39065</c:v>
                </c:pt>
                <c:pt idx="350">
                  <c:v>39066</c:v>
                </c:pt>
                <c:pt idx="351">
                  <c:v>39066</c:v>
                </c:pt>
                <c:pt idx="352">
                  <c:v>39067</c:v>
                </c:pt>
                <c:pt idx="353">
                  <c:v>39067</c:v>
                </c:pt>
                <c:pt idx="354">
                  <c:v>39067</c:v>
                </c:pt>
                <c:pt idx="355">
                  <c:v>39067</c:v>
                </c:pt>
                <c:pt idx="356">
                  <c:v>39070</c:v>
                </c:pt>
                <c:pt idx="357">
                  <c:v>39070</c:v>
                </c:pt>
                <c:pt idx="358">
                  <c:v>39070</c:v>
                </c:pt>
                <c:pt idx="359">
                  <c:v>39071</c:v>
                </c:pt>
                <c:pt idx="360">
                  <c:v>39072</c:v>
                </c:pt>
                <c:pt idx="361">
                  <c:v>39073</c:v>
                </c:pt>
                <c:pt idx="362">
                  <c:v>39073</c:v>
                </c:pt>
                <c:pt idx="363">
                  <c:v>39073</c:v>
                </c:pt>
                <c:pt idx="364">
                  <c:v>39073</c:v>
                </c:pt>
                <c:pt idx="365">
                  <c:v>39076</c:v>
                </c:pt>
                <c:pt idx="366">
                  <c:v>39081</c:v>
                </c:pt>
                <c:pt idx="367">
                  <c:v>39084</c:v>
                </c:pt>
                <c:pt idx="368">
                  <c:v>39085</c:v>
                </c:pt>
                <c:pt idx="369">
                  <c:v>39085</c:v>
                </c:pt>
                <c:pt idx="370">
                  <c:v>39090</c:v>
                </c:pt>
                <c:pt idx="371">
                  <c:v>39092</c:v>
                </c:pt>
                <c:pt idx="372">
                  <c:v>39093</c:v>
                </c:pt>
                <c:pt idx="373">
                  <c:v>39095</c:v>
                </c:pt>
                <c:pt idx="374">
                  <c:v>39095</c:v>
                </c:pt>
                <c:pt idx="375">
                  <c:v>39095</c:v>
                </c:pt>
                <c:pt idx="376">
                  <c:v>39096</c:v>
                </c:pt>
                <c:pt idx="377">
                  <c:v>39097</c:v>
                </c:pt>
                <c:pt idx="378">
                  <c:v>39098</c:v>
                </c:pt>
                <c:pt idx="379">
                  <c:v>39098</c:v>
                </c:pt>
                <c:pt idx="380">
                  <c:v>39098</c:v>
                </c:pt>
                <c:pt idx="381">
                  <c:v>39098</c:v>
                </c:pt>
                <c:pt idx="382">
                  <c:v>39099</c:v>
                </c:pt>
                <c:pt idx="383">
                  <c:v>39099</c:v>
                </c:pt>
                <c:pt idx="384">
                  <c:v>39104</c:v>
                </c:pt>
                <c:pt idx="385">
                  <c:v>39110</c:v>
                </c:pt>
                <c:pt idx="386">
                  <c:v>39113</c:v>
                </c:pt>
                <c:pt idx="387">
                  <c:v>39113</c:v>
                </c:pt>
                <c:pt idx="388">
                  <c:v>39113</c:v>
                </c:pt>
                <c:pt idx="389">
                  <c:v>39114</c:v>
                </c:pt>
                <c:pt idx="390">
                  <c:v>39115</c:v>
                </c:pt>
                <c:pt idx="391">
                  <c:v>39122</c:v>
                </c:pt>
                <c:pt idx="392">
                  <c:v>39124</c:v>
                </c:pt>
                <c:pt idx="393">
                  <c:v>39132</c:v>
                </c:pt>
                <c:pt idx="394">
                  <c:v>39135</c:v>
                </c:pt>
                <c:pt idx="395">
                  <c:v>39138</c:v>
                </c:pt>
                <c:pt idx="396">
                  <c:v>39139</c:v>
                </c:pt>
                <c:pt idx="397">
                  <c:v>39140</c:v>
                </c:pt>
                <c:pt idx="398">
                  <c:v>39145</c:v>
                </c:pt>
                <c:pt idx="399">
                  <c:v>39152</c:v>
                </c:pt>
                <c:pt idx="400">
                  <c:v>39165</c:v>
                </c:pt>
                <c:pt idx="401">
                  <c:v>39168</c:v>
                </c:pt>
                <c:pt idx="402">
                  <c:v>39195</c:v>
                </c:pt>
                <c:pt idx="403">
                  <c:v>39197</c:v>
                </c:pt>
                <c:pt idx="404">
                  <c:v>39197</c:v>
                </c:pt>
                <c:pt idx="405">
                  <c:v>39200</c:v>
                </c:pt>
                <c:pt idx="406">
                  <c:v>39203</c:v>
                </c:pt>
                <c:pt idx="407">
                  <c:v>39224</c:v>
                </c:pt>
                <c:pt idx="408">
                  <c:v>39230</c:v>
                </c:pt>
                <c:pt idx="409">
                  <c:v>39238</c:v>
                </c:pt>
                <c:pt idx="410">
                  <c:v>39240</c:v>
                </c:pt>
                <c:pt idx="411">
                  <c:v>39241</c:v>
                </c:pt>
                <c:pt idx="412">
                  <c:v>39259</c:v>
                </c:pt>
                <c:pt idx="413">
                  <c:v>39270</c:v>
                </c:pt>
                <c:pt idx="414">
                  <c:v>39283</c:v>
                </c:pt>
                <c:pt idx="415">
                  <c:v>39292</c:v>
                </c:pt>
                <c:pt idx="416">
                  <c:v>39307</c:v>
                </c:pt>
                <c:pt idx="417">
                  <c:v>39308</c:v>
                </c:pt>
                <c:pt idx="418">
                  <c:v>39312</c:v>
                </c:pt>
                <c:pt idx="419">
                  <c:v>39344</c:v>
                </c:pt>
                <c:pt idx="420">
                  <c:v>39358</c:v>
                </c:pt>
                <c:pt idx="421">
                  <c:v>39384</c:v>
                </c:pt>
                <c:pt idx="422">
                  <c:v>39387</c:v>
                </c:pt>
                <c:pt idx="423">
                  <c:v>39413</c:v>
                </c:pt>
                <c:pt idx="424">
                  <c:v>39425</c:v>
                </c:pt>
                <c:pt idx="425">
                  <c:v>39440</c:v>
                </c:pt>
                <c:pt idx="426">
                  <c:v>39515</c:v>
                </c:pt>
                <c:pt idx="427">
                  <c:v>39553</c:v>
                </c:pt>
                <c:pt idx="428">
                  <c:v>39588</c:v>
                </c:pt>
                <c:pt idx="429">
                  <c:v>39664</c:v>
                </c:pt>
                <c:pt idx="430">
                  <c:v>39714</c:v>
                </c:pt>
                <c:pt idx="431">
                  <c:v>39733</c:v>
                </c:pt>
                <c:pt idx="432">
                  <c:v>39743</c:v>
                </c:pt>
                <c:pt idx="433">
                  <c:v>39823</c:v>
                </c:pt>
                <c:pt idx="434">
                  <c:v>39877</c:v>
                </c:pt>
                <c:pt idx="435">
                  <c:v>39920</c:v>
                </c:pt>
                <c:pt idx="436">
                  <c:v>39971</c:v>
                </c:pt>
                <c:pt idx="437">
                  <c:v>40022</c:v>
                </c:pt>
                <c:pt idx="438">
                  <c:v>40055</c:v>
                </c:pt>
                <c:pt idx="439">
                  <c:v>40083</c:v>
                </c:pt>
                <c:pt idx="440">
                  <c:v>40180</c:v>
                </c:pt>
                <c:pt idx="441">
                  <c:v>40245</c:v>
                </c:pt>
                <c:pt idx="442">
                  <c:v>40281</c:v>
                </c:pt>
                <c:pt idx="443">
                  <c:v>40375</c:v>
                </c:pt>
                <c:pt idx="444">
                  <c:v>40510</c:v>
                </c:pt>
                <c:pt idx="445">
                  <c:v>40547</c:v>
                </c:pt>
                <c:pt idx="446">
                  <c:v>40564</c:v>
                </c:pt>
                <c:pt idx="447">
                  <c:v>40673</c:v>
                </c:pt>
                <c:pt idx="448">
                  <c:v>40736</c:v>
                </c:pt>
                <c:pt idx="449">
                  <c:v>40816</c:v>
                </c:pt>
                <c:pt idx="450">
                  <c:v>40893</c:v>
                </c:pt>
                <c:pt idx="451">
                  <c:v>40995</c:v>
                </c:pt>
                <c:pt idx="452">
                  <c:v>41020</c:v>
                </c:pt>
                <c:pt idx="453">
                  <c:v>41036</c:v>
                </c:pt>
                <c:pt idx="454">
                  <c:v>41101</c:v>
                </c:pt>
                <c:pt idx="455">
                  <c:v>41180</c:v>
                </c:pt>
                <c:pt idx="456">
                  <c:v>41240</c:v>
                </c:pt>
                <c:pt idx="457">
                  <c:v>41318</c:v>
                </c:pt>
                <c:pt idx="458">
                  <c:v>41367</c:v>
                </c:pt>
                <c:pt idx="459">
                  <c:v>41434</c:v>
                </c:pt>
                <c:pt idx="460">
                  <c:v>41447</c:v>
                </c:pt>
                <c:pt idx="461">
                  <c:v>41514</c:v>
                </c:pt>
                <c:pt idx="462">
                  <c:v>41574</c:v>
                </c:pt>
                <c:pt idx="463">
                  <c:v>41627</c:v>
                </c:pt>
                <c:pt idx="464">
                  <c:v>41691</c:v>
                </c:pt>
                <c:pt idx="465">
                  <c:v>41718</c:v>
                </c:pt>
                <c:pt idx="466">
                  <c:v>41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List1!$B$2:$B$468</c:f>
              <c:numCache>
                <c:formatCode>General</c:formatCode>
                <c:ptCount val="467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0</c:v>
                </c:pt>
                <c:pt idx="32">
                  <c:v>155</c:v>
                </c:pt>
                <c:pt idx="33">
                  <c:v>207</c:v>
                </c:pt>
                <c:pt idx="34">
                  <c:v>364</c:v>
                </c:pt>
                <c:pt idx="35">
                  <c:v>435</c:v>
                </c:pt>
                <c:pt idx="36">
                  <c:v>473</c:v>
                </c:pt>
                <c:pt idx="37">
                  <c:v>541</c:v>
                </c:pt>
                <c:pt idx="38">
                  <c:v>673</c:v>
                </c:pt>
                <c:pt idx="39">
                  <c:v>693</c:v>
                </c:pt>
                <c:pt idx="40">
                  <c:v>660</c:v>
                </c:pt>
                <c:pt idx="41">
                  <c:v>773</c:v>
                </c:pt>
                <c:pt idx="42">
                  <c:v>943</c:v>
                </c:pt>
                <c:pt idx="43">
                  <c:v>1073</c:v>
                </c:pt>
                <c:pt idx="44">
                  <c:v>1239</c:v>
                </c:pt>
                <c:pt idx="45">
                  <c:v>1368</c:v>
                </c:pt>
                <c:pt idx="46">
                  <c:v>1444</c:v>
                </c:pt>
                <c:pt idx="47">
                  <c:v>1398</c:v>
                </c:pt>
                <c:pt idx="48">
                  <c:v>1568</c:v>
                </c:pt>
                <c:pt idx="49">
                  <c:v>1681</c:v>
                </c:pt>
                <c:pt idx="50">
                  <c:v>1959</c:v>
                </c:pt>
                <c:pt idx="51">
                  <c:v>2115</c:v>
                </c:pt>
                <c:pt idx="52">
                  <c:v>2401</c:v>
                </c:pt>
                <c:pt idx="53">
                  <c:v>2483</c:v>
                </c:pt>
                <c:pt idx="54">
                  <c:v>2526</c:v>
                </c:pt>
                <c:pt idx="55">
                  <c:v>2706</c:v>
                </c:pt>
                <c:pt idx="56">
                  <c:v>3035</c:v>
                </c:pt>
                <c:pt idx="57">
                  <c:v>3060</c:v>
                </c:pt>
                <c:pt idx="58">
                  <c:v>3498</c:v>
                </c:pt>
                <c:pt idx="59">
                  <c:v>3793</c:v>
                </c:pt>
                <c:pt idx="60">
                  <c:v>3880</c:v>
                </c:pt>
                <c:pt idx="61">
                  <c:v>3776</c:v>
                </c:pt>
                <c:pt idx="62">
                  <c:v>3838</c:v>
                </c:pt>
                <c:pt idx="63">
                  <c:v>3767</c:v>
                </c:pt>
                <c:pt idx="64">
                  <c:v>3978</c:v>
                </c:pt>
                <c:pt idx="65">
                  <c:v>4307</c:v>
                </c:pt>
                <c:pt idx="66">
                  <c:v>4166</c:v>
                </c:pt>
                <c:pt idx="67">
                  <c:v>3816</c:v>
                </c:pt>
                <c:pt idx="68">
                  <c:v>3735</c:v>
                </c:pt>
                <c:pt idx="69">
                  <c:v>3491</c:v>
                </c:pt>
                <c:pt idx="70">
                  <c:v>3371</c:v>
                </c:pt>
                <c:pt idx="71">
                  <c:v>3790</c:v>
                </c:pt>
                <c:pt idx="72">
                  <c:v>4170</c:v>
                </c:pt>
                <c:pt idx="73">
                  <c:v>4218</c:v>
                </c:pt>
                <c:pt idx="74">
                  <c:v>3875</c:v>
                </c:pt>
                <c:pt idx="75">
                  <c:v>3762</c:v>
                </c:pt>
                <c:pt idx="76">
                  <c:v>3775</c:v>
                </c:pt>
                <c:pt idx="77">
                  <c:v>3562</c:v>
                </c:pt>
                <c:pt idx="78">
                  <c:v>3751</c:v>
                </c:pt>
                <c:pt idx="79">
                  <c:v>3901</c:v>
                </c:pt>
                <c:pt idx="80">
                  <c:v>3957</c:v>
                </c:pt>
                <c:pt idx="81">
                  <c:v>3577</c:v>
                </c:pt>
                <c:pt idx="82">
                  <c:v>3302</c:v>
                </c:pt>
                <c:pt idx="83">
                  <c:v>3426</c:v>
                </c:pt>
                <c:pt idx="84">
                  <c:v>3141</c:v>
                </c:pt>
                <c:pt idx="85">
                  <c:v>3134</c:v>
                </c:pt>
                <c:pt idx="86">
                  <c:v>3227</c:v>
                </c:pt>
                <c:pt idx="87">
                  <c:v>2991</c:v>
                </c:pt>
                <c:pt idx="88">
                  <c:v>2959</c:v>
                </c:pt>
                <c:pt idx="89">
                  <c:v>2701</c:v>
                </c:pt>
                <c:pt idx="90">
                  <c:v>2602</c:v>
                </c:pt>
                <c:pt idx="91">
                  <c:v>2415</c:v>
                </c:pt>
                <c:pt idx="92">
                  <c:v>2447</c:v>
                </c:pt>
                <c:pt idx="93">
                  <c:v>2504</c:v>
                </c:pt>
                <c:pt idx="94">
                  <c:v>2394</c:v>
                </c:pt>
                <c:pt idx="95">
                  <c:v>2228</c:v>
                </c:pt>
                <c:pt idx="96">
                  <c:v>2074</c:v>
                </c:pt>
                <c:pt idx="97">
                  <c:v>2026</c:v>
                </c:pt>
                <c:pt idx="98">
                  <c:v>1881</c:v>
                </c:pt>
                <c:pt idx="99">
                  <c:v>1935</c:v>
                </c:pt>
                <c:pt idx="100">
                  <c:v>1986</c:v>
                </c:pt>
                <c:pt idx="101">
                  <c:v>1973</c:v>
                </c:pt>
                <c:pt idx="102">
                  <c:v>1881</c:v>
                </c:pt>
                <c:pt idx="103">
                  <c:v>1834</c:v>
                </c:pt>
                <c:pt idx="104">
                  <c:v>1842</c:v>
                </c:pt>
                <c:pt idx="105">
                  <c:v>1822</c:v>
                </c:pt>
                <c:pt idx="106">
                  <c:v>1823</c:v>
                </c:pt>
                <c:pt idx="107">
                  <c:v>1828</c:v>
                </c:pt>
                <c:pt idx="108">
                  <c:v>1879</c:v>
                </c:pt>
                <c:pt idx="109">
                  <c:v>1750</c:v>
                </c:pt>
                <c:pt idx="110">
                  <c:v>1683</c:v>
                </c:pt>
                <c:pt idx="111">
                  <c:v>1732</c:v>
                </c:pt>
                <c:pt idx="112">
                  <c:v>1745</c:v>
                </c:pt>
                <c:pt idx="113">
                  <c:v>1768</c:v>
                </c:pt>
                <c:pt idx="114">
                  <c:v>1734</c:v>
                </c:pt>
                <c:pt idx="115">
                  <c:v>1633</c:v>
                </c:pt>
                <c:pt idx="116">
                  <c:v>1608</c:v>
                </c:pt>
                <c:pt idx="117">
                  <c:v>1608</c:v>
                </c:pt>
                <c:pt idx="118">
                  <c:v>1652</c:v>
                </c:pt>
                <c:pt idx="119">
                  <c:v>1700</c:v>
                </c:pt>
                <c:pt idx="120">
                  <c:v>1798</c:v>
                </c:pt>
                <c:pt idx="121">
                  <c:v>1880</c:v>
                </c:pt>
                <c:pt idx="122">
                  <c:v>1746</c:v>
                </c:pt>
                <c:pt idx="123">
                  <c:v>1712</c:v>
                </c:pt>
                <c:pt idx="124">
                  <c:v>1546</c:v>
                </c:pt>
                <c:pt idx="125">
                  <c:v>1777</c:v>
                </c:pt>
                <c:pt idx="126">
                  <c:v>1865</c:v>
                </c:pt>
                <c:pt idx="127">
                  <c:v>1957</c:v>
                </c:pt>
                <c:pt idx="128">
                  <c:v>2099</c:v>
                </c:pt>
                <c:pt idx="129">
                  <c:v>2100</c:v>
                </c:pt>
                <c:pt idx="130">
                  <c:v>1967</c:v>
                </c:pt>
                <c:pt idx="131">
                  <c:v>1820</c:v>
                </c:pt>
                <c:pt idx="132">
                  <c:v>1961</c:v>
                </c:pt>
                <c:pt idx="133">
                  <c:v>2026</c:v>
                </c:pt>
                <c:pt idx="134">
                  <c:v>2129</c:v>
                </c:pt>
                <c:pt idx="135">
                  <c:v>2175</c:v>
                </c:pt>
                <c:pt idx="136">
                  <c:v>2091</c:v>
                </c:pt>
                <c:pt idx="137">
                  <c:v>1895</c:v>
                </c:pt>
                <c:pt idx="138">
                  <c:v>1739</c:v>
                </c:pt>
                <c:pt idx="139">
                  <c:v>1678</c:v>
                </c:pt>
                <c:pt idx="140">
                  <c:v>1565</c:v>
                </c:pt>
                <c:pt idx="141">
                  <c:v>1650</c:v>
                </c:pt>
                <c:pt idx="142">
                  <c:v>1720</c:v>
                </c:pt>
                <c:pt idx="143">
                  <c:v>1590</c:v>
                </c:pt>
                <c:pt idx="144">
                  <c:v>1525</c:v>
                </c:pt>
                <c:pt idx="145">
                  <c:v>1425</c:v>
                </c:pt>
                <c:pt idx="146">
                  <c:v>1385</c:v>
                </c:pt>
                <c:pt idx="147">
                  <c:v>1331</c:v>
                </c:pt>
                <c:pt idx="148">
                  <c:v>1382</c:v>
                </c:pt>
                <c:pt idx="149">
                  <c:v>1418</c:v>
                </c:pt>
                <c:pt idx="150">
                  <c:v>1276</c:v>
                </c:pt>
                <c:pt idx="151">
                  <c:v>1233</c:v>
                </c:pt>
                <c:pt idx="152">
                  <c:v>1096</c:v>
                </c:pt>
                <c:pt idx="153">
                  <c:v>1123</c:v>
                </c:pt>
                <c:pt idx="154">
                  <c:v>1146</c:v>
                </c:pt>
                <c:pt idx="155">
                  <c:v>1201</c:v>
                </c:pt>
                <c:pt idx="156">
                  <c:v>1230</c:v>
                </c:pt>
                <c:pt idx="157">
                  <c:v>1201</c:v>
                </c:pt>
                <c:pt idx="158">
                  <c:v>1139</c:v>
                </c:pt>
                <c:pt idx="159">
                  <c:v>1085</c:v>
                </c:pt>
                <c:pt idx="160">
                  <c:v>1100</c:v>
                </c:pt>
                <c:pt idx="161">
                  <c:v>1094</c:v>
                </c:pt>
                <c:pt idx="162">
                  <c:v>1128</c:v>
                </c:pt>
                <c:pt idx="163">
                  <c:v>1174</c:v>
                </c:pt>
                <c:pt idx="164">
                  <c:v>1139</c:v>
                </c:pt>
                <c:pt idx="165">
                  <c:v>1018</c:v>
                </c:pt>
                <c:pt idx="166">
                  <c:v>926</c:v>
                </c:pt>
                <c:pt idx="167">
                  <c:v>905</c:v>
                </c:pt>
                <c:pt idx="168">
                  <c:v>820</c:v>
                </c:pt>
                <c:pt idx="169">
                  <c:v>799</c:v>
                </c:pt>
                <c:pt idx="170">
                  <c:v>813</c:v>
                </c:pt>
                <c:pt idx="171">
                  <c:v>754</c:v>
                </c:pt>
                <c:pt idx="172">
                  <c:v>693</c:v>
                </c:pt>
                <c:pt idx="173">
                  <c:v>621</c:v>
                </c:pt>
                <c:pt idx="174">
                  <c:v>664</c:v>
                </c:pt>
                <c:pt idx="175">
                  <c:v>638</c:v>
                </c:pt>
                <c:pt idx="176">
                  <c:v>649</c:v>
                </c:pt>
                <c:pt idx="177">
                  <c:v>679</c:v>
                </c:pt>
                <c:pt idx="178">
                  <c:v>667</c:v>
                </c:pt>
                <c:pt idx="179">
                  <c:v>635</c:v>
                </c:pt>
                <c:pt idx="180">
                  <c:v>616</c:v>
                </c:pt>
                <c:pt idx="181">
                  <c:v>664</c:v>
                </c:pt>
                <c:pt idx="182">
                  <c:v>630</c:v>
                </c:pt>
                <c:pt idx="183">
                  <c:v>637</c:v>
                </c:pt>
                <c:pt idx="184">
                  <c:v>629</c:v>
                </c:pt>
                <c:pt idx="185">
                  <c:v>562</c:v>
                </c:pt>
                <c:pt idx="186">
                  <c:v>533</c:v>
                </c:pt>
                <c:pt idx="187">
                  <c:v>489</c:v>
                </c:pt>
                <c:pt idx="188">
                  <c:v>484</c:v>
                </c:pt>
                <c:pt idx="189">
                  <c:v>503</c:v>
                </c:pt>
                <c:pt idx="190">
                  <c:v>544</c:v>
                </c:pt>
                <c:pt idx="191">
                  <c:v>543</c:v>
                </c:pt>
                <c:pt idx="192">
                  <c:v>564</c:v>
                </c:pt>
                <c:pt idx="193">
                  <c:v>561</c:v>
                </c:pt>
                <c:pt idx="194">
                  <c:v>561</c:v>
                </c:pt>
                <c:pt idx="195">
                  <c:v>582</c:v>
                </c:pt>
                <c:pt idx="196">
                  <c:v>518</c:v>
                </c:pt>
                <c:pt idx="197">
                  <c:v>497</c:v>
                </c:pt>
                <c:pt idx="198">
                  <c:v>484</c:v>
                </c:pt>
                <c:pt idx="199">
                  <c:v>484</c:v>
                </c:pt>
                <c:pt idx="200">
                  <c:v>464</c:v>
                </c:pt>
                <c:pt idx="201">
                  <c:v>463</c:v>
                </c:pt>
                <c:pt idx="202">
                  <c:v>469</c:v>
                </c:pt>
                <c:pt idx="203">
                  <c:v>469</c:v>
                </c:pt>
                <c:pt idx="204">
                  <c:v>434</c:v>
                </c:pt>
                <c:pt idx="205">
                  <c:v>430</c:v>
                </c:pt>
                <c:pt idx="206">
                  <c:v>412</c:v>
                </c:pt>
                <c:pt idx="207">
                  <c:v>378</c:v>
                </c:pt>
                <c:pt idx="208">
                  <c:v>377</c:v>
                </c:pt>
                <c:pt idx="209">
                  <c:v>389</c:v>
                </c:pt>
                <c:pt idx="210">
                  <c:v>357</c:v>
                </c:pt>
                <c:pt idx="211">
                  <c:v>348</c:v>
                </c:pt>
                <c:pt idx="212">
                  <c:v>333</c:v>
                </c:pt>
                <c:pt idx="213">
                  <c:v>304</c:v>
                </c:pt>
                <c:pt idx="214">
                  <c:v>294</c:v>
                </c:pt>
                <c:pt idx="215">
                  <c:v>293</c:v>
                </c:pt>
                <c:pt idx="216">
                  <c:v>291</c:v>
                </c:pt>
                <c:pt idx="217">
                  <c:v>261</c:v>
                </c:pt>
                <c:pt idx="218">
                  <c:v>258</c:v>
                </c:pt>
                <c:pt idx="219">
                  <c:v>243</c:v>
                </c:pt>
                <c:pt idx="220">
                  <c:v>214</c:v>
                </c:pt>
                <c:pt idx="221">
                  <c:v>209</c:v>
                </c:pt>
                <c:pt idx="222">
                  <c:v>208</c:v>
                </c:pt>
                <c:pt idx="223">
                  <c:v>207</c:v>
                </c:pt>
                <c:pt idx="224">
                  <c:v>197</c:v>
                </c:pt>
                <c:pt idx="225">
                  <c:v>175</c:v>
                </c:pt>
                <c:pt idx="226">
                  <c:v>165</c:v>
                </c:pt>
                <c:pt idx="227">
                  <c:v>151</c:v>
                </c:pt>
                <c:pt idx="228">
                  <c:v>149</c:v>
                </c:pt>
                <c:pt idx="229">
                  <c:v>150</c:v>
                </c:pt>
                <c:pt idx="230">
                  <c:v>154</c:v>
                </c:pt>
                <c:pt idx="231">
                  <c:v>148</c:v>
                </c:pt>
                <c:pt idx="232">
                  <c:v>141</c:v>
                </c:pt>
                <c:pt idx="233">
                  <c:v>140</c:v>
                </c:pt>
                <c:pt idx="234">
                  <c:v>142</c:v>
                </c:pt>
                <c:pt idx="235">
                  <c:v>136</c:v>
                </c:pt>
                <c:pt idx="236">
                  <c:v>136</c:v>
                </c:pt>
                <c:pt idx="237">
                  <c:v>135</c:v>
                </c:pt>
                <c:pt idx="238">
                  <c:v>133</c:v>
                </c:pt>
                <c:pt idx="239">
                  <c:v>132</c:v>
                </c:pt>
                <c:pt idx="240">
                  <c:v>131</c:v>
                </c:pt>
                <c:pt idx="241">
                  <c:v>131</c:v>
                </c:pt>
                <c:pt idx="242">
                  <c:v>125</c:v>
                </c:pt>
                <c:pt idx="243">
                  <c:v>125</c:v>
                </c:pt>
                <c:pt idx="244">
                  <c:v>125</c:v>
                </c:pt>
                <c:pt idx="245">
                  <c:v>122</c:v>
                </c:pt>
                <c:pt idx="246">
                  <c:v>118</c:v>
                </c:pt>
                <c:pt idx="247">
                  <c:v>112</c:v>
                </c:pt>
                <c:pt idx="248">
                  <c:v>111</c:v>
                </c:pt>
                <c:pt idx="249">
                  <c:v>105</c:v>
                </c:pt>
                <c:pt idx="250">
                  <c:v>108</c:v>
                </c:pt>
                <c:pt idx="251">
                  <c:v>112</c:v>
                </c:pt>
                <c:pt idx="252">
                  <c:v>112</c:v>
                </c:pt>
                <c:pt idx="253">
                  <c:v>109</c:v>
                </c:pt>
                <c:pt idx="254">
                  <c:v>108</c:v>
                </c:pt>
                <c:pt idx="255">
                  <c:v>107</c:v>
                </c:pt>
                <c:pt idx="256">
                  <c:v>105</c:v>
                </c:pt>
                <c:pt idx="257">
                  <c:v>104</c:v>
                </c:pt>
                <c:pt idx="258">
                  <c:v>106</c:v>
                </c:pt>
                <c:pt idx="259">
                  <c:v>102</c:v>
                </c:pt>
                <c:pt idx="260">
                  <c:v>104</c:v>
                </c:pt>
                <c:pt idx="261">
                  <c:v>101</c:v>
                </c:pt>
                <c:pt idx="262">
                  <c:v>101</c:v>
                </c:pt>
                <c:pt idx="263">
                  <c:v>100</c:v>
                </c:pt>
                <c:pt idx="264">
                  <c:v>99</c:v>
                </c:pt>
                <c:pt idx="265">
                  <c:v>100</c:v>
                </c:pt>
                <c:pt idx="266">
                  <c:v>99</c:v>
                </c:pt>
                <c:pt idx="267">
                  <c:v>98</c:v>
                </c:pt>
                <c:pt idx="268">
                  <c:v>96</c:v>
                </c:pt>
                <c:pt idx="269">
                  <c:v>95</c:v>
                </c:pt>
                <c:pt idx="270">
                  <c:v>95</c:v>
                </c:pt>
                <c:pt idx="271">
                  <c:v>92</c:v>
                </c:pt>
                <c:pt idx="272">
                  <c:v>91</c:v>
                </c:pt>
                <c:pt idx="273">
                  <c:v>90</c:v>
                </c:pt>
                <c:pt idx="274">
                  <c:v>93</c:v>
                </c:pt>
                <c:pt idx="275">
                  <c:v>89</c:v>
                </c:pt>
                <c:pt idx="276">
                  <c:v>85</c:v>
                </c:pt>
                <c:pt idx="277">
                  <c:v>84</c:v>
                </c:pt>
                <c:pt idx="278">
                  <c:v>84</c:v>
                </c:pt>
                <c:pt idx="279">
                  <c:v>84</c:v>
                </c:pt>
                <c:pt idx="280">
                  <c:v>84</c:v>
                </c:pt>
                <c:pt idx="281">
                  <c:v>83</c:v>
                </c:pt>
                <c:pt idx="282">
                  <c:v>82</c:v>
                </c:pt>
                <c:pt idx="283">
                  <c:v>83</c:v>
                </c:pt>
                <c:pt idx="284">
                  <c:v>80</c:v>
                </c:pt>
                <c:pt idx="285">
                  <c:v>80</c:v>
                </c:pt>
                <c:pt idx="286">
                  <c:v>80</c:v>
                </c:pt>
                <c:pt idx="287">
                  <c:v>80</c:v>
                </c:pt>
                <c:pt idx="288">
                  <c:v>80</c:v>
                </c:pt>
                <c:pt idx="289">
                  <c:v>80</c:v>
                </c:pt>
                <c:pt idx="290">
                  <c:v>80</c:v>
                </c:pt>
                <c:pt idx="291">
                  <c:v>80</c:v>
                </c:pt>
                <c:pt idx="292">
                  <c:v>80</c:v>
                </c:pt>
                <c:pt idx="293">
                  <c:v>80</c:v>
                </c:pt>
                <c:pt idx="294">
                  <c:v>80</c:v>
                </c:pt>
                <c:pt idx="295">
                  <c:v>81</c:v>
                </c:pt>
                <c:pt idx="296">
                  <c:v>81</c:v>
                </c:pt>
                <c:pt idx="297">
                  <c:v>80</c:v>
                </c:pt>
                <c:pt idx="298">
                  <c:v>80</c:v>
                </c:pt>
                <c:pt idx="299">
                  <c:v>80</c:v>
                </c:pt>
                <c:pt idx="300">
                  <c:v>80</c:v>
                </c:pt>
                <c:pt idx="301">
                  <c:v>80</c:v>
                </c:pt>
                <c:pt idx="302">
                  <c:v>79</c:v>
                </c:pt>
                <c:pt idx="303">
                  <c:v>80</c:v>
                </c:pt>
                <c:pt idx="304">
                  <c:v>78</c:v>
                </c:pt>
                <c:pt idx="305">
                  <c:v>78</c:v>
                </c:pt>
                <c:pt idx="306">
                  <c:v>79</c:v>
                </c:pt>
                <c:pt idx="307">
                  <c:v>79</c:v>
                </c:pt>
                <c:pt idx="308">
                  <c:v>79</c:v>
                </c:pt>
                <c:pt idx="309">
                  <c:v>79</c:v>
                </c:pt>
                <c:pt idx="310">
                  <c:v>78</c:v>
                </c:pt>
                <c:pt idx="311">
                  <c:v>78</c:v>
                </c:pt>
                <c:pt idx="312">
                  <c:v>78</c:v>
                </c:pt>
                <c:pt idx="313">
                  <c:v>78</c:v>
                </c:pt>
                <c:pt idx="314">
                  <c:v>78</c:v>
                </c:pt>
                <c:pt idx="315">
                  <c:v>78</c:v>
                </c:pt>
                <c:pt idx="316">
                  <c:v>78</c:v>
                </c:pt>
                <c:pt idx="317">
                  <c:v>78</c:v>
                </c:pt>
                <c:pt idx="318">
                  <c:v>78</c:v>
                </c:pt>
                <c:pt idx="319">
                  <c:v>78</c:v>
                </c:pt>
                <c:pt idx="320">
                  <c:v>78</c:v>
                </c:pt>
                <c:pt idx="321">
                  <c:v>78</c:v>
                </c:pt>
                <c:pt idx="322">
                  <c:v>77</c:v>
                </c:pt>
                <c:pt idx="323">
                  <c:v>77</c:v>
                </c:pt>
                <c:pt idx="324">
                  <c:v>77</c:v>
                </c:pt>
                <c:pt idx="325">
                  <c:v>77</c:v>
                </c:pt>
                <c:pt idx="326">
                  <c:v>78</c:v>
                </c:pt>
                <c:pt idx="327">
                  <c:v>77</c:v>
                </c:pt>
                <c:pt idx="328">
                  <c:v>77</c:v>
                </c:pt>
                <c:pt idx="329">
                  <c:v>77</c:v>
                </c:pt>
                <c:pt idx="330">
                  <c:v>77</c:v>
                </c:pt>
                <c:pt idx="331">
                  <c:v>77</c:v>
                </c:pt>
                <c:pt idx="332">
                  <c:v>76</c:v>
                </c:pt>
                <c:pt idx="333">
                  <c:v>76</c:v>
                </c:pt>
                <c:pt idx="334">
                  <c:v>76</c:v>
                </c:pt>
                <c:pt idx="335">
                  <c:v>76</c:v>
                </c:pt>
                <c:pt idx="336">
                  <c:v>75</c:v>
                </c:pt>
                <c:pt idx="337">
                  <c:v>75</c:v>
                </c:pt>
                <c:pt idx="338">
                  <c:v>75</c:v>
                </c:pt>
                <c:pt idx="339">
                  <c:v>75</c:v>
                </c:pt>
                <c:pt idx="340">
                  <c:v>75</c:v>
                </c:pt>
                <c:pt idx="341">
                  <c:v>75</c:v>
                </c:pt>
                <c:pt idx="342">
                  <c:v>75</c:v>
                </c:pt>
                <c:pt idx="343">
                  <c:v>75</c:v>
                </c:pt>
                <c:pt idx="344">
                  <c:v>75</c:v>
                </c:pt>
                <c:pt idx="345">
                  <c:v>75</c:v>
                </c:pt>
                <c:pt idx="346">
                  <c:v>75</c:v>
                </c:pt>
                <c:pt idx="347">
                  <c:v>75</c:v>
                </c:pt>
                <c:pt idx="348">
                  <c:v>75</c:v>
                </c:pt>
                <c:pt idx="349">
                  <c:v>76</c:v>
                </c:pt>
                <c:pt idx="350">
                  <c:v>77</c:v>
                </c:pt>
                <c:pt idx="351">
                  <c:v>77</c:v>
                </c:pt>
                <c:pt idx="352">
                  <c:v>78</c:v>
                </c:pt>
                <c:pt idx="353">
                  <c:v>77</c:v>
                </c:pt>
                <c:pt idx="354">
                  <c:v>77</c:v>
                </c:pt>
                <c:pt idx="355">
                  <c:v>77</c:v>
                </c:pt>
                <c:pt idx="356">
                  <c:v>79</c:v>
                </c:pt>
                <c:pt idx="357">
                  <c:v>79</c:v>
                </c:pt>
                <c:pt idx="358">
                  <c:v>79</c:v>
                </c:pt>
                <c:pt idx="359">
                  <c:v>79</c:v>
                </c:pt>
                <c:pt idx="360">
                  <c:v>79</c:v>
                </c:pt>
                <c:pt idx="361">
                  <c:v>78</c:v>
                </c:pt>
                <c:pt idx="362">
                  <c:v>78</c:v>
                </c:pt>
                <c:pt idx="363">
                  <c:v>78</c:v>
                </c:pt>
                <c:pt idx="364">
                  <c:v>78</c:v>
                </c:pt>
                <c:pt idx="365">
                  <c:v>79</c:v>
                </c:pt>
                <c:pt idx="366">
                  <c:v>83</c:v>
                </c:pt>
                <c:pt idx="367">
                  <c:v>85</c:v>
                </c:pt>
                <c:pt idx="368">
                  <c:v>86</c:v>
                </c:pt>
                <c:pt idx="369">
                  <c:v>85</c:v>
                </c:pt>
                <c:pt idx="370">
                  <c:v>89</c:v>
                </c:pt>
                <c:pt idx="371">
                  <c:v>86</c:v>
                </c:pt>
                <c:pt idx="372">
                  <c:v>86</c:v>
                </c:pt>
                <c:pt idx="373">
                  <c:v>86</c:v>
                </c:pt>
                <c:pt idx="374">
                  <c:v>86</c:v>
                </c:pt>
                <c:pt idx="375">
                  <c:v>86</c:v>
                </c:pt>
                <c:pt idx="376">
                  <c:v>86</c:v>
                </c:pt>
                <c:pt idx="377">
                  <c:v>87</c:v>
                </c:pt>
                <c:pt idx="378">
                  <c:v>87</c:v>
                </c:pt>
                <c:pt idx="379">
                  <c:v>87</c:v>
                </c:pt>
                <c:pt idx="380">
                  <c:v>86</c:v>
                </c:pt>
                <c:pt idx="381">
                  <c:v>84</c:v>
                </c:pt>
                <c:pt idx="382">
                  <c:v>84</c:v>
                </c:pt>
                <c:pt idx="383">
                  <c:v>84</c:v>
                </c:pt>
                <c:pt idx="384">
                  <c:v>85</c:v>
                </c:pt>
                <c:pt idx="385">
                  <c:v>81</c:v>
                </c:pt>
                <c:pt idx="386">
                  <c:v>82</c:v>
                </c:pt>
                <c:pt idx="387">
                  <c:v>80</c:v>
                </c:pt>
                <c:pt idx="388">
                  <c:v>80</c:v>
                </c:pt>
                <c:pt idx="389">
                  <c:v>80</c:v>
                </c:pt>
                <c:pt idx="390">
                  <c:v>80</c:v>
                </c:pt>
                <c:pt idx="391">
                  <c:v>82</c:v>
                </c:pt>
                <c:pt idx="392">
                  <c:v>80</c:v>
                </c:pt>
                <c:pt idx="393">
                  <c:v>81</c:v>
                </c:pt>
                <c:pt idx="394">
                  <c:v>81</c:v>
                </c:pt>
                <c:pt idx="395">
                  <c:v>82</c:v>
                </c:pt>
                <c:pt idx="396">
                  <c:v>83</c:v>
                </c:pt>
                <c:pt idx="397">
                  <c:v>84</c:v>
                </c:pt>
                <c:pt idx="398">
                  <c:v>86</c:v>
                </c:pt>
                <c:pt idx="399">
                  <c:v>88</c:v>
                </c:pt>
                <c:pt idx="400">
                  <c:v>96</c:v>
                </c:pt>
                <c:pt idx="401">
                  <c:v>95</c:v>
                </c:pt>
                <c:pt idx="402">
                  <c:v>120</c:v>
                </c:pt>
                <c:pt idx="403">
                  <c:v>120</c:v>
                </c:pt>
                <c:pt idx="404">
                  <c:v>120</c:v>
                </c:pt>
                <c:pt idx="405">
                  <c:v>121</c:v>
                </c:pt>
                <c:pt idx="406">
                  <c:v>121</c:v>
                </c:pt>
                <c:pt idx="407">
                  <c:v>140</c:v>
                </c:pt>
                <c:pt idx="408">
                  <c:v>142</c:v>
                </c:pt>
                <c:pt idx="409">
                  <c:v>142</c:v>
                </c:pt>
                <c:pt idx="410">
                  <c:v>142</c:v>
                </c:pt>
                <c:pt idx="411">
                  <c:v>141</c:v>
                </c:pt>
                <c:pt idx="412">
                  <c:v>145</c:v>
                </c:pt>
                <c:pt idx="413">
                  <c:v>145</c:v>
                </c:pt>
                <c:pt idx="414">
                  <c:v>140</c:v>
                </c:pt>
                <c:pt idx="415">
                  <c:v>140</c:v>
                </c:pt>
                <c:pt idx="416">
                  <c:v>123</c:v>
                </c:pt>
                <c:pt idx="417">
                  <c:v>122</c:v>
                </c:pt>
                <c:pt idx="418">
                  <c:v>120</c:v>
                </c:pt>
                <c:pt idx="419">
                  <c:v>133</c:v>
                </c:pt>
                <c:pt idx="420">
                  <c:v>141</c:v>
                </c:pt>
                <c:pt idx="421">
                  <c:v>148</c:v>
                </c:pt>
                <c:pt idx="422">
                  <c:v>132</c:v>
                </c:pt>
                <c:pt idx="423">
                  <c:v>150</c:v>
                </c:pt>
                <c:pt idx="424">
                  <c:v>153</c:v>
                </c:pt>
                <c:pt idx="425">
                  <c:v>162</c:v>
                </c:pt>
                <c:pt idx="426">
                  <c:v>197</c:v>
                </c:pt>
                <c:pt idx="427">
                  <c:v>207</c:v>
                </c:pt>
                <c:pt idx="428">
                  <c:v>212</c:v>
                </c:pt>
                <c:pt idx="429">
                  <c:v>259</c:v>
                </c:pt>
                <c:pt idx="430">
                  <c:v>278</c:v>
                </c:pt>
                <c:pt idx="431">
                  <c:v>272</c:v>
                </c:pt>
                <c:pt idx="432">
                  <c:v>271</c:v>
                </c:pt>
                <c:pt idx="433">
                  <c:v>296</c:v>
                </c:pt>
                <c:pt idx="434">
                  <c:v>309</c:v>
                </c:pt>
                <c:pt idx="435">
                  <c:v>315</c:v>
                </c:pt>
                <c:pt idx="436">
                  <c:v>322</c:v>
                </c:pt>
                <c:pt idx="437">
                  <c:v>334</c:v>
                </c:pt>
                <c:pt idx="438">
                  <c:v>332</c:v>
                </c:pt>
                <c:pt idx="439">
                  <c:v>337</c:v>
                </c:pt>
                <c:pt idx="440">
                  <c:v>367</c:v>
                </c:pt>
                <c:pt idx="441">
                  <c:v>369</c:v>
                </c:pt>
                <c:pt idx="442">
                  <c:v>371</c:v>
                </c:pt>
                <c:pt idx="443">
                  <c:v>401</c:v>
                </c:pt>
                <c:pt idx="444">
                  <c:v>456</c:v>
                </c:pt>
                <c:pt idx="445">
                  <c:v>460</c:v>
                </c:pt>
                <c:pt idx="446">
                  <c:v>459</c:v>
                </c:pt>
                <c:pt idx="447">
                  <c:v>498</c:v>
                </c:pt>
                <c:pt idx="448">
                  <c:v>484</c:v>
                </c:pt>
                <c:pt idx="449">
                  <c:v>488</c:v>
                </c:pt>
                <c:pt idx="450">
                  <c:v>495</c:v>
                </c:pt>
                <c:pt idx="451">
                  <c:v>527</c:v>
                </c:pt>
                <c:pt idx="452">
                  <c:v>509</c:v>
                </c:pt>
                <c:pt idx="453">
                  <c:v>506</c:v>
                </c:pt>
                <c:pt idx="454">
                  <c:v>523</c:v>
                </c:pt>
                <c:pt idx="455">
                  <c:v>506</c:v>
                </c:pt>
                <c:pt idx="456">
                  <c:v>473</c:v>
                </c:pt>
                <c:pt idx="457">
                  <c:v>473</c:v>
                </c:pt>
                <c:pt idx="458">
                  <c:v>370</c:v>
                </c:pt>
                <c:pt idx="459">
                  <c:v>392</c:v>
                </c:pt>
                <c:pt idx="460">
                  <c:v>371</c:v>
                </c:pt>
                <c:pt idx="461">
                  <c:v>378</c:v>
                </c:pt>
                <c:pt idx="462">
                  <c:v>349</c:v>
                </c:pt>
                <c:pt idx="463">
                  <c:v>347</c:v>
                </c:pt>
                <c:pt idx="464">
                  <c:v>314</c:v>
                </c:pt>
                <c:pt idx="465">
                  <c:v>310</c:v>
                </c:pt>
                <c:pt idx="466">
                  <c:v>2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List1!$C$2:$C$468</c:f>
              <c:numCache>
                <c:formatCode>General</c:formatCode>
                <c:ptCount val="46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5</c:v>
                </c:pt>
                <c:pt idx="32">
                  <c:v>200</c:v>
                </c:pt>
                <c:pt idx="33">
                  <c:v>213</c:v>
                </c:pt>
                <c:pt idx="34">
                  <c:v>296</c:v>
                </c:pt>
                <c:pt idx="35">
                  <c:v>332</c:v>
                </c:pt>
                <c:pt idx="36">
                  <c:v>359</c:v>
                </c:pt>
                <c:pt idx="37">
                  <c:v>439</c:v>
                </c:pt>
                <c:pt idx="38">
                  <c:v>520</c:v>
                </c:pt>
                <c:pt idx="39">
                  <c:v>558</c:v>
                </c:pt>
                <c:pt idx="40">
                  <c:v>572</c:v>
                </c:pt>
                <c:pt idx="41">
                  <c:v>695</c:v>
                </c:pt>
                <c:pt idx="42">
                  <c:v>815</c:v>
                </c:pt>
                <c:pt idx="43">
                  <c:v>980</c:v>
                </c:pt>
                <c:pt idx="44">
                  <c:v>1148</c:v>
                </c:pt>
                <c:pt idx="45">
                  <c:v>1313</c:v>
                </c:pt>
                <c:pt idx="46">
                  <c:v>1379</c:v>
                </c:pt>
                <c:pt idx="47">
                  <c:v>1374</c:v>
                </c:pt>
                <c:pt idx="48">
                  <c:v>1509</c:v>
                </c:pt>
                <c:pt idx="49">
                  <c:v>1649</c:v>
                </c:pt>
                <c:pt idx="50">
                  <c:v>1865</c:v>
                </c:pt>
                <c:pt idx="51">
                  <c:v>2023</c:v>
                </c:pt>
                <c:pt idx="52">
                  <c:v>2282</c:v>
                </c:pt>
                <c:pt idx="53">
                  <c:v>2355</c:v>
                </c:pt>
                <c:pt idx="54">
                  <c:v>2320</c:v>
                </c:pt>
                <c:pt idx="55">
                  <c:v>2479</c:v>
                </c:pt>
                <c:pt idx="56">
                  <c:v>2647</c:v>
                </c:pt>
                <c:pt idx="57">
                  <c:v>2661</c:v>
                </c:pt>
                <c:pt idx="58">
                  <c:v>3054</c:v>
                </c:pt>
                <c:pt idx="59">
                  <c:v>3186</c:v>
                </c:pt>
                <c:pt idx="60">
                  <c:v>3099</c:v>
                </c:pt>
                <c:pt idx="61">
                  <c:v>2939</c:v>
                </c:pt>
                <c:pt idx="62">
                  <c:v>2953</c:v>
                </c:pt>
                <c:pt idx="63">
                  <c:v>2879</c:v>
                </c:pt>
                <c:pt idx="64">
                  <c:v>3065</c:v>
                </c:pt>
                <c:pt idx="65">
                  <c:v>3236</c:v>
                </c:pt>
                <c:pt idx="66">
                  <c:v>3055</c:v>
                </c:pt>
                <c:pt idx="67">
                  <c:v>2806</c:v>
                </c:pt>
                <c:pt idx="68">
                  <c:v>2706</c:v>
                </c:pt>
                <c:pt idx="69">
                  <c:v>2552</c:v>
                </c:pt>
                <c:pt idx="70">
                  <c:v>2409</c:v>
                </c:pt>
                <c:pt idx="71">
                  <c:v>2526</c:v>
                </c:pt>
                <c:pt idx="72">
                  <c:v>2647</c:v>
                </c:pt>
                <c:pt idx="73">
                  <c:v>2548</c:v>
                </c:pt>
                <c:pt idx="74">
                  <c:v>2347</c:v>
                </c:pt>
                <c:pt idx="75">
                  <c:v>2104</c:v>
                </c:pt>
                <c:pt idx="76">
                  <c:v>2058</c:v>
                </c:pt>
                <c:pt idx="77">
                  <c:v>1896</c:v>
                </c:pt>
                <c:pt idx="78">
                  <c:v>1996</c:v>
                </c:pt>
                <c:pt idx="79">
                  <c:v>2067</c:v>
                </c:pt>
                <c:pt idx="80">
                  <c:v>2011</c:v>
                </c:pt>
                <c:pt idx="81">
                  <c:v>1757</c:v>
                </c:pt>
                <c:pt idx="82">
                  <c:v>1572</c:v>
                </c:pt>
                <c:pt idx="83">
                  <c:v>1548</c:v>
                </c:pt>
                <c:pt idx="84">
                  <c:v>1484</c:v>
                </c:pt>
                <c:pt idx="85">
                  <c:v>1506</c:v>
                </c:pt>
                <c:pt idx="86">
                  <c:v>1528</c:v>
                </c:pt>
                <c:pt idx="87">
                  <c:v>1483</c:v>
                </c:pt>
                <c:pt idx="88">
                  <c:v>1445</c:v>
                </c:pt>
                <c:pt idx="89">
                  <c:v>1299</c:v>
                </c:pt>
                <c:pt idx="90">
                  <c:v>1272</c:v>
                </c:pt>
                <c:pt idx="91">
                  <c:v>1265</c:v>
                </c:pt>
                <c:pt idx="92">
                  <c:v>1310</c:v>
                </c:pt>
                <c:pt idx="93">
                  <c:v>1346</c:v>
                </c:pt>
                <c:pt idx="94">
                  <c:v>1280</c:v>
                </c:pt>
                <c:pt idx="95">
                  <c:v>1218</c:v>
                </c:pt>
                <c:pt idx="96">
                  <c:v>1145</c:v>
                </c:pt>
                <c:pt idx="97">
                  <c:v>1205</c:v>
                </c:pt>
                <c:pt idx="98">
                  <c:v>1192</c:v>
                </c:pt>
                <c:pt idx="99">
                  <c:v>1228</c:v>
                </c:pt>
                <c:pt idx="100">
                  <c:v>1274</c:v>
                </c:pt>
                <c:pt idx="101">
                  <c:v>1254</c:v>
                </c:pt>
                <c:pt idx="102">
                  <c:v>1183</c:v>
                </c:pt>
                <c:pt idx="103">
                  <c:v>1143</c:v>
                </c:pt>
                <c:pt idx="104">
                  <c:v>1176</c:v>
                </c:pt>
                <c:pt idx="105">
                  <c:v>1180</c:v>
                </c:pt>
                <c:pt idx="106">
                  <c:v>1247</c:v>
                </c:pt>
                <c:pt idx="107">
                  <c:v>1280</c:v>
                </c:pt>
                <c:pt idx="108">
                  <c:v>1230</c:v>
                </c:pt>
                <c:pt idx="109">
                  <c:v>1174</c:v>
                </c:pt>
                <c:pt idx="110">
                  <c:v>1124</c:v>
                </c:pt>
                <c:pt idx="111">
                  <c:v>1223</c:v>
                </c:pt>
                <c:pt idx="112">
                  <c:v>1269</c:v>
                </c:pt>
                <c:pt idx="113">
                  <c:v>1356</c:v>
                </c:pt>
                <c:pt idx="114">
                  <c:v>1371</c:v>
                </c:pt>
                <c:pt idx="115">
                  <c:v>1317</c:v>
                </c:pt>
                <c:pt idx="116">
                  <c:v>1273</c:v>
                </c:pt>
                <c:pt idx="117">
                  <c:v>1242</c:v>
                </c:pt>
                <c:pt idx="118">
                  <c:v>1355</c:v>
                </c:pt>
                <c:pt idx="119">
                  <c:v>1442</c:v>
                </c:pt>
                <c:pt idx="120">
                  <c:v>1517</c:v>
                </c:pt>
                <c:pt idx="121">
                  <c:v>1583</c:v>
                </c:pt>
                <c:pt idx="122">
                  <c:v>1487</c:v>
                </c:pt>
                <c:pt idx="123">
                  <c:v>1415</c:v>
                </c:pt>
                <c:pt idx="124">
                  <c:v>1348</c:v>
                </c:pt>
                <c:pt idx="125">
                  <c:v>1603</c:v>
                </c:pt>
                <c:pt idx="126">
                  <c:v>1723</c:v>
                </c:pt>
                <c:pt idx="127">
                  <c:v>1796</c:v>
                </c:pt>
                <c:pt idx="128">
                  <c:v>1855</c:v>
                </c:pt>
                <c:pt idx="129">
                  <c:v>1755</c:v>
                </c:pt>
                <c:pt idx="130">
                  <c:v>1639</c:v>
                </c:pt>
                <c:pt idx="131">
                  <c:v>1521</c:v>
                </c:pt>
                <c:pt idx="132">
                  <c:v>1665</c:v>
                </c:pt>
                <c:pt idx="133">
                  <c:v>1748</c:v>
                </c:pt>
                <c:pt idx="134">
                  <c:v>1817</c:v>
                </c:pt>
                <c:pt idx="135">
                  <c:v>1817</c:v>
                </c:pt>
                <c:pt idx="136">
                  <c:v>1675</c:v>
                </c:pt>
                <c:pt idx="137">
                  <c:v>1532</c:v>
                </c:pt>
                <c:pt idx="138">
                  <c:v>1423</c:v>
                </c:pt>
                <c:pt idx="139">
                  <c:v>1420</c:v>
                </c:pt>
                <c:pt idx="140">
                  <c:v>1369</c:v>
                </c:pt>
                <c:pt idx="141">
                  <c:v>1401</c:v>
                </c:pt>
                <c:pt idx="142">
                  <c:v>1429</c:v>
                </c:pt>
                <c:pt idx="143">
                  <c:v>1334</c:v>
                </c:pt>
                <c:pt idx="144">
                  <c:v>1258</c:v>
                </c:pt>
                <c:pt idx="145">
                  <c:v>1148</c:v>
                </c:pt>
                <c:pt idx="146">
                  <c:v>1161</c:v>
                </c:pt>
                <c:pt idx="147">
                  <c:v>1165</c:v>
                </c:pt>
                <c:pt idx="148">
                  <c:v>1192</c:v>
                </c:pt>
                <c:pt idx="149">
                  <c:v>1203</c:v>
                </c:pt>
                <c:pt idx="150">
                  <c:v>1119</c:v>
                </c:pt>
                <c:pt idx="151">
                  <c:v>1051</c:v>
                </c:pt>
                <c:pt idx="152">
                  <c:v>973</c:v>
                </c:pt>
                <c:pt idx="153">
                  <c:v>994</c:v>
                </c:pt>
                <c:pt idx="154">
                  <c:v>984</c:v>
                </c:pt>
                <c:pt idx="155">
                  <c:v>1022</c:v>
                </c:pt>
                <c:pt idx="156">
                  <c:v>1043</c:v>
                </c:pt>
                <c:pt idx="157">
                  <c:v>988</c:v>
                </c:pt>
                <c:pt idx="158">
                  <c:v>918</c:v>
                </c:pt>
                <c:pt idx="159">
                  <c:v>875</c:v>
                </c:pt>
                <c:pt idx="160">
                  <c:v>898</c:v>
                </c:pt>
                <c:pt idx="161">
                  <c:v>866</c:v>
                </c:pt>
                <c:pt idx="162">
                  <c:v>878</c:v>
                </c:pt>
                <c:pt idx="163">
                  <c:v>903</c:v>
                </c:pt>
                <c:pt idx="164">
                  <c:v>864</c:v>
                </c:pt>
                <c:pt idx="165">
                  <c:v>805</c:v>
                </c:pt>
                <c:pt idx="166">
                  <c:v>754</c:v>
                </c:pt>
                <c:pt idx="167">
                  <c:v>771</c:v>
                </c:pt>
                <c:pt idx="168">
                  <c:v>762</c:v>
                </c:pt>
                <c:pt idx="169">
                  <c:v>781</c:v>
                </c:pt>
                <c:pt idx="170">
                  <c:v>796</c:v>
                </c:pt>
                <c:pt idx="171">
                  <c:v>767</c:v>
                </c:pt>
                <c:pt idx="172">
                  <c:v>727</c:v>
                </c:pt>
                <c:pt idx="173">
                  <c:v>700</c:v>
                </c:pt>
                <c:pt idx="174">
                  <c:v>731</c:v>
                </c:pt>
                <c:pt idx="175">
                  <c:v>744</c:v>
                </c:pt>
                <c:pt idx="176">
                  <c:v>760</c:v>
                </c:pt>
                <c:pt idx="177">
                  <c:v>784</c:v>
                </c:pt>
                <c:pt idx="178">
                  <c:v>763</c:v>
                </c:pt>
                <c:pt idx="179">
                  <c:v>713</c:v>
                </c:pt>
                <c:pt idx="180">
                  <c:v>678</c:v>
                </c:pt>
                <c:pt idx="181">
                  <c:v>699</c:v>
                </c:pt>
                <c:pt idx="182">
                  <c:v>692</c:v>
                </c:pt>
                <c:pt idx="183">
                  <c:v>732</c:v>
                </c:pt>
                <c:pt idx="184">
                  <c:v>758</c:v>
                </c:pt>
                <c:pt idx="185">
                  <c:v>707</c:v>
                </c:pt>
                <c:pt idx="186">
                  <c:v>656</c:v>
                </c:pt>
                <c:pt idx="187">
                  <c:v>624</c:v>
                </c:pt>
                <c:pt idx="188">
                  <c:v>641</c:v>
                </c:pt>
                <c:pt idx="189">
                  <c:v>627</c:v>
                </c:pt>
                <c:pt idx="190">
                  <c:v>647</c:v>
                </c:pt>
                <c:pt idx="191">
                  <c:v>662</c:v>
                </c:pt>
                <c:pt idx="192">
                  <c:v>678</c:v>
                </c:pt>
                <c:pt idx="193">
                  <c:v>688</c:v>
                </c:pt>
                <c:pt idx="194">
                  <c:v>693</c:v>
                </c:pt>
                <c:pt idx="195">
                  <c:v>728</c:v>
                </c:pt>
                <c:pt idx="196">
                  <c:v>690</c:v>
                </c:pt>
                <c:pt idx="197">
                  <c:v>666</c:v>
                </c:pt>
                <c:pt idx="198">
                  <c:v>628</c:v>
                </c:pt>
                <c:pt idx="199">
                  <c:v>608</c:v>
                </c:pt>
                <c:pt idx="200">
                  <c:v>575</c:v>
                </c:pt>
                <c:pt idx="201">
                  <c:v>570</c:v>
                </c:pt>
                <c:pt idx="202">
                  <c:v>593</c:v>
                </c:pt>
                <c:pt idx="203">
                  <c:v>548</c:v>
                </c:pt>
                <c:pt idx="204">
                  <c:v>523</c:v>
                </c:pt>
                <c:pt idx="205">
                  <c:v>494</c:v>
                </c:pt>
                <c:pt idx="206">
                  <c:v>482</c:v>
                </c:pt>
                <c:pt idx="207">
                  <c:v>459</c:v>
                </c:pt>
                <c:pt idx="208">
                  <c:v>451</c:v>
                </c:pt>
                <c:pt idx="209">
                  <c:v>458</c:v>
                </c:pt>
                <c:pt idx="210">
                  <c:v>444</c:v>
                </c:pt>
                <c:pt idx="211">
                  <c:v>417</c:v>
                </c:pt>
                <c:pt idx="212">
                  <c:v>408</c:v>
                </c:pt>
                <c:pt idx="213">
                  <c:v>383</c:v>
                </c:pt>
                <c:pt idx="214">
                  <c:v>367</c:v>
                </c:pt>
                <c:pt idx="215">
                  <c:v>365</c:v>
                </c:pt>
                <c:pt idx="216">
                  <c:v>367</c:v>
                </c:pt>
                <c:pt idx="217">
                  <c:v>352</c:v>
                </c:pt>
                <c:pt idx="218">
                  <c:v>344</c:v>
                </c:pt>
                <c:pt idx="219">
                  <c:v>342</c:v>
                </c:pt>
                <c:pt idx="220">
                  <c:v>336</c:v>
                </c:pt>
                <c:pt idx="221">
                  <c:v>321</c:v>
                </c:pt>
                <c:pt idx="222">
                  <c:v>317</c:v>
                </c:pt>
                <c:pt idx="223">
                  <c:v>322</c:v>
                </c:pt>
                <c:pt idx="224">
                  <c:v>298</c:v>
                </c:pt>
                <c:pt idx="225">
                  <c:v>291</c:v>
                </c:pt>
                <c:pt idx="226">
                  <c:v>285</c:v>
                </c:pt>
                <c:pt idx="227">
                  <c:v>281</c:v>
                </c:pt>
                <c:pt idx="228">
                  <c:v>280</c:v>
                </c:pt>
                <c:pt idx="229">
                  <c:v>277</c:v>
                </c:pt>
                <c:pt idx="230">
                  <c:v>285</c:v>
                </c:pt>
                <c:pt idx="231">
                  <c:v>279</c:v>
                </c:pt>
                <c:pt idx="232">
                  <c:v>255</c:v>
                </c:pt>
                <c:pt idx="233">
                  <c:v>237</c:v>
                </c:pt>
                <c:pt idx="234">
                  <c:v>229</c:v>
                </c:pt>
                <c:pt idx="235">
                  <c:v>222</c:v>
                </c:pt>
                <c:pt idx="236">
                  <c:v>220</c:v>
                </c:pt>
                <c:pt idx="237">
                  <c:v>223</c:v>
                </c:pt>
                <c:pt idx="238">
                  <c:v>219</c:v>
                </c:pt>
                <c:pt idx="239">
                  <c:v>214</c:v>
                </c:pt>
                <c:pt idx="240">
                  <c:v>210</c:v>
                </c:pt>
                <c:pt idx="241">
                  <c:v>207</c:v>
                </c:pt>
                <c:pt idx="242">
                  <c:v>204</c:v>
                </c:pt>
                <c:pt idx="243">
                  <c:v>203</c:v>
                </c:pt>
                <c:pt idx="244">
                  <c:v>205</c:v>
                </c:pt>
                <c:pt idx="245">
                  <c:v>194</c:v>
                </c:pt>
                <c:pt idx="246">
                  <c:v>190</c:v>
                </c:pt>
                <c:pt idx="247">
                  <c:v>191</c:v>
                </c:pt>
                <c:pt idx="248">
                  <c:v>189</c:v>
                </c:pt>
                <c:pt idx="249">
                  <c:v>184</c:v>
                </c:pt>
                <c:pt idx="250">
                  <c:v>182</c:v>
                </c:pt>
                <c:pt idx="251">
                  <c:v>183</c:v>
                </c:pt>
                <c:pt idx="252">
                  <c:v>179</c:v>
                </c:pt>
                <c:pt idx="253">
                  <c:v>175</c:v>
                </c:pt>
                <c:pt idx="254">
                  <c:v>175</c:v>
                </c:pt>
                <c:pt idx="255">
                  <c:v>175</c:v>
                </c:pt>
                <c:pt idx="256">
                  <c:v>172</c:v>
                </c:pt>
                <c:pt idx="257">
                  <c:v>172</c:v>
                </c:pt>
                <c:pt idx="258">
                  <c:v>173</c:v>
                </c:pt>
                <c:pt idx="259">
                  <c:v>174</c:v>
                </c:pt>
                <c:pt idx="260">
                  <c:v>170</c:v>
                </c:pt>
                <c:pt idx="261">
                  <c:v>171</c:v>
                </c:pt>
                <c:pt idx="262">
                  <c:v>170</c:v>
                </c:pt>
                <c:pt idx="263">
                  <c:v>167</c:v>
                </c:pt>
                <c:pt idx="264">
                  <c:v>167</c:v>
                </c:pt>
                <c:pt idx="265">
                  <c:v>169</c:v>
                </c:pt>
                <c:pt idx="266">
                  <c:v>167</c:v>
                </c:pt>
                <c:pt idx="267">
                  <c:v>164</c:v>
                </c:pt>
                <c:pt idx="268">
                  <c:v>163</c:v>
                </c:pt>
                <c:pt idx="269">
                  <c:v>161</c:v>
                </c:pt>
                <c:pt idx="270">
                  <c:v>159</c:v>
                </c:pt>
                <c:pt idx="271">
                  <c:v>159</c:v>
                </c:pt>
                <c:pt idx="272">
                  <c:v>158</c:v>
                </c:pt>
                <c:pt idx="273">
                  <c:v>155</c:v>
                </c:pt>
                <c:pt idx="274">
                  <c:v>152</c:v>
                </c:pt>
                <c:pt idx="275">
                  <c:v>151</c:v>
                </c:pt>
                <c:pt idx="276">
                  <c:v>149</c:v>
                </c:pt>
                <c:pt idx="277">
                  <c:v>149</c:v>
                </c:pt>
                <c:pt idx="278">
                  <c:v>149</c:v>
                </c:pt>
                <c:pt idx="279">
                  <c:v>148</c:v>
                </c:pt>
                <c:pt idx="280">
                  <c:v>146</c:v>
                </c:pt>
                <c:pt idx="281">
                  <c:v>144</c:v>
                </c:pt>
                <c:pt idx="282">
                  <c:v>144</c:v>
                </c:pt>
                <c:pt idx="283">
                  <c:v>144</c:v>
                </c:pt>
                <c:pt idx="284">
                  <c:v>144</c:v>
                </c:pt>
                <c:pt idx="285">
                  <c:v>144</c:v>
                </c:pt>
                <c:pt idx="286">
                  <c:v>144</c:v>
                </c:pt>
                <c:pt idx="287">
                  <c:v>144</c:v>
                </c:pt>
                <c:pt idx="288">
                  <c:v>144</c:v>
                </c:pt>
                <c:pt idx="289">
                  <c:v>143</c:v>
                </c:pt>
                <c:pt idx="290">
                  <c:v>143</c:v>
                </c:pt>
                <c:pt idx="291">
                  <c:v>143</c:v>
                </c:pt>
                <c:pt idx="292">
                  <c:v>143</c:v>
                </c:pt>
                <c:pt idx="293">
                  <c:v>143</c:v>
                </c:pt>
                <c:pt idx="294">
                  <c:v>143</c:v>
                </c:pt>
                <c:pt idx="295">
                  <c:v>143</c:v>
                </c:pt>
                <c:pt idx="296">
                  <c:v>141</c:v>
                </c:pt>
                <c:pt idx="297">
                  <c:v>140</c:v>
                </c:pt>
                <c:pt idx="298">
                  <c:v>140</c:v>
                </c:pt>
                <c:pt idx="299">
                  <c:v>140</c:v>
                </c:pt>
                <c:pt idx="300">
                  <c:v>140</c:v>
                </c:pt>
                <c:pt idx="301">
                  <c:v>140</c:v>
                </c:pt>
                <c:pt idx="302">
                  <c:v>141</c:v>
                </c:pt>
                <c:pt idx="303">
                  <c:v>141</c:v>
                </c:pt>
                <c:pt idx="304">
                  <c:v>141</c:v>
                </c:pt>
                <c:pt idx="305">
                  <c:v>141</c:v>
                </c:pt>
                <c:pt idx="306">
                  <c:v>141</c:v>
                </c:pt>
                <c:pt idx="307">
                  <c:v>141</c:v>
                </c:pt>
                <c:pt idx="308">
                  <c:v>141</c:v>
                </c:pt>
                <c:pt idx="309">
                  <c:v>141</c:v>
                </c:pt>
                <c:pt idx="310">
                  <c:v>141</c:v>
                </c:pt>
                <c:pt idx="311">
                  <c:v>141</c:v>
                </c:pt>
                <c:pt idx="312">
                  <c:v>141</c:v>
                </c:pt>
                <c:pt idx="313">
                  <c:v>142</c:v>
                </c:pt>
                <c:pt idx="314">
                  <c:v>142</c:v>
                </c:pt>
                <c:pt idx="315">
                  <c:v>142</c:v>
                </c:pt>
                <c:pt idx="316">
                  <c:v>142</c:v>
                </c:pt>
                <c:pt idx="317">
                  <c:v>142</c:v>
                </c:pt>
                <c:pt idx="318">
                  <c:v>141</c:v>
                </c:pt>
                <c:pt idx="319">
                  <c:v>141</c:v>
                </c:pt>
                <c:pt idx="320">
                  <c:v>141</c:v>
                </c:pt>
                <c:pt idx="321">
                  <c:v>141</c:v>
                </c:pt>
                <c:pt idx="322">
                  <c:v>141</c:v>
                </c:pt>
                <c:pt idx="323">
                  <c:v>142</c:v>
                </c:pt>
                <c:pt idx="324">
                  <c:v>141</c:v>
                </c:pt>
                <c:pt idx="325">
                  <c:v>141</c:v>
                </c:pt>
                <c:pt idx="326">
                  <c:v>140</c:v>
                </c:pt>
                <c:pt idx="327">
                  <c:v>140</c:v>
                </c:pt>
                <c:pt idx="328">
                  <c:v>139</c:v>
                </c:pt>
                <c:pt idx="329">
                  <c:v>140</c:v>
                </c:pt>
                <c:pt idx="330">
                  <c:v>141</c:v>
                </c:pt>
                <c:pt idx="331">
                  <c:v>141</c:v>
                </c:pt>
                <c:pt idx="332">
                  <c:v>141</c:v>
                </c:pt>
                <c:pt idx="333">
                  <c:v>141</c:v>
                </c:pt>
                <c:pt idx="334">
                  <c:v>141</c:v>
                </c:pt>
                <c:pt idx="335">
                  <c:v>141</c:v>
                </c:pt>
                <c:pt idx="336">
                  <c:v>141</c:v>
                </c:pt>
                <c:pt idx="337">
                  <c:v>141</c:v>
                </c:pt>
                <c:pt idx="338">
                  <c:v>140</c:v>
                </c:pt>
                <c:pt idx="339">
                  <c:v>140</c:v>
                </c:pt>
                <c:pt idx="340">
                  <c:v>140</c:v>
                </c:pt>
                <c:pt idx="341">
                  <c:v>141</c:v>
                </c:pt>
                <c:pt idx="342">
                  <c:v>141</c:v>
                </c:pt>
                <c:pt idx="343">
                  <c:v>140</c:v>
                </c:pt>
                <c:pt idx="344">
                  <c:v>140</c:v>
                </c:pt>
                <c:pt idx="345">
                  <c:v>140</c:v>
                </c:pt>
                <c:pt idx="346">
                  <c:v>140</c:v>
                </c:pt>
                <c:pt idx="347">
                  <c:v>140</c:v>
                </c:pt>
                <c:pt idx="348">
                  <c:v>140</c:v>
                </c:pt>
                <c:pt idx="349">
                  <c:v>140</c:v>
                </c:pt>
                <c:pt idx="350">
                  <c:v>139</c:v>
                </c:pt>
                <c:pt idx="351">
                  <c:v>139</c:v>
                </c:pt>
                <c:pt idx="352">
                  <c:v>139</c:v>
                </c:pt>
                <c:pt idx="353">
                  <c:v>139</c:v>
                </c:pt>
                <c:pt idx="354">
                  <c:v>139</c:v>
                </c:pt>
                <c:pt idx="355">
                  <c:v>139</c:v>
                </c:pt>
                <c:pt idx="356">
                  <c:v>140</c:v>
                </c:pt>
                <c:pt idx="357">
                  <c:v>140</c:v>
                </c:pt>
                <c:pt idx="358">
                  <c:v>140</c:v>
                </c:pt>
                <c:pt idx="359">
                  <c:v>140</c:v>
                </c:pt>
                <c:pt idx="360">
                  <c:v>141</c:v>
                </c:pt>
                <c:pt idx="361">
                  <c:v>141</c:v>
                </c:pt>
                <c:pt idx="362">
                  <c:v>141</c:v>
                </c:pt>
                <c:pt idx="363">
                  <c:v>141</c:v>
                </c:pt>
                <c:pt idx="364">
                  <c:v>141</c:v>
                </c:pt>
                <c:pt idx="365">
                  <c:v>143</c:v>
                </c:pt>
                <c:pt idx="366">
                  <c:v>144</c:v>
                </c:pt>
                <c:pt idx="367">
                  <c:v>145</c:v>
                </c:pt>
                <c:pt idx="368">
                  <c:v>145</c:v>
                </c:pt>
                <c:pt idx="369">
                  <c:v>145</c:v>
                </c:pt>
                <c:pt idx="370">
                  <c:v>146</c:v>
                </c:pt>
                <c:pt idx="371">
                  <c:v>147</c:v>
                </c:pt>
                <c:pt idx="372">
                  <c:v>148</c:v>
                </c:pt>
                <c:pt idx="373">
                  <c:v>149</c:v>
                </c:pt>
                <c:pt idx="374">
                  <c:v>149</c:v>
                </c:pt>
                <c:pt idx="375">
                  <c:v>148</c:v>
                </c:pt>
                <c:pt idx="376">
                  <c:v>147</c:v>
                </c:pt>
                <c:pt idx="377">
                  <c:v>147</c:v>
                </c:pt>
                <c:pt idx="378">
                  <c:v>148</c:v>
                </c:pt>
                <c:pt idx="379">
                  <c:v>147</c:v>
                </c:pt>
                <c:pt idx="380">
                  <c:v>147</c:v>
                </c:pt>
                <c:pt idx="381">
                  <c:v>146</c:v>
                </c:pt>
                <c:pt idx="382">
                  <c:v>144</c:v>
                </c:pt>
                <c:pt idx="383">
                  <c:v>144</c:v>
                </c:pt>
                <c:pt idx="384">
                  <c:v>148</c:v>
                </c:pt>
                <c:pt idx="385">
                  <c:v>150</c:v>
                </c:pt>
                <c:pt idx="386">
                  <c:v>150</c:v>
                </c:pt>
                <c:pt idx="387">
                  <c:v>150</c:v>
                </c:pt>
                <c:pt idx="388">
                  <c:v>150</c:v>
                </c:pt>
                <c:pt idx="389">
                  <c:v>151</c:v>
                </c:pt>
                <c:pt idx="390">
                  <c:v>152</c:v>
                </c:pt>
                <c:pt idx="391">
                  <c:v>156</c:v>
                </c:pt>
                <c:pt idx="392">
                  <c:v>158</c:v>
                </c:pt>
                <c:pt idx="393">
                  <c:v>163</c:v>
                </c:pt>
                <c:pt idx="394">
                  <c:v>164</c:v>
                </c:pt>
                <c:pt idx="395">
                  <c:v>165</c:v>
                </c:pt>
                <c:pt idx="396">
                  <c:v>164</c:v>
                </c:pt>
                <c:pt idx="397">
                  <c:v>163</c:v>
                </c:pt>
                <c:pt idx="398">
                  <c:v>165</c:v>
                </c:pt>
                <c:pt idx="399">
                  <c:v>167</c:v>
                </c:pt>
                <c:pt idx="400">
                  <c:v>167</c:v>
                </c:pt>
                <c:pt idx="401">
                  <c:v>168</c:v>
                </c:pt>
                <c:pt idx="402">
                  <c:v>169</c:v>
                </c:pt>
                <c:pt idx="403">
                  <c:v>170</c:v>
                </c:pt>
                <c:pt idx="404">
                  <c:v>168</c:v>
                </c:pt>
                <c:pt idx="405">
                  <c:v>170</c:v>
                </c:pt>
                <c:pt idx="406">
                  <c:v>166</c:v>
                </c:pt>
                <c:pt idx="407">
                  <c:v>166</c:v>
                </c:pt>
                <c:pt idx="408">
                  <c:v>162</c:v>
                </c:pt>
                <c:pt idx="409">
                  <c:v>167</c:v>
                </c:pt>
                <c:pt idx="410">
                  <c:v>167</c:v>
                </c:pt>
                <c:pt idx="411">
                  <c:v>168</c:v>
                </c:pt>
                <c:pt idx="412">
                  <c:v>180</c:v>
                </c:pt>
                <c:pt idx="413">
                  <c:v>183</c:v>
                </c:pt>
                <c:pt idx="414">
                  <c:v>191</c:v>
                </c:pt>
                <c:pt idx="415">
                  <c:v>194</c:v>
                </c:pt>
                <c:pt idx="416">
                  <c:v>200</c:v>
                </c:pt>
                <c:pt idx="417">
                  <c:v>196</c:v>
                </c:pt>
                <c:pt idx="418">
                  <c:v>199</c:v>
                </c:pt>
                <c:pt idx="419">
                  <c:v>216</c:v>
                </c:pt>
                <c:pt idx="420">
                  <c:v>218</c:v>
                </c:pt>
                <c:pt idx="421">
                  <c:v>231</c:v>
                </c:pt>
                <c:pt idx="422">
                  <c:v>232</c:v>
                </c:pt>
                <c:pt idx="423">
                  <c:v>237</c:v>
                </c:pt>
                <c:pt idx="424">
                  <c:v>237</c:v>
                </c:pt>
                <c:pt idx="425">
                  <c:v>238</c:v>
                </c:pt>
                <c:pt idx="426">
                  <c:v>278</c:v>
                </c:pt>
                <c:pt idx="427">
                  <c:v>288</c:v>
                </c:pt>
                <c:pt idx="428">
                  <c:v>300</c:v>
                </c:pt>
                <c:pt idx="429">
                  <c:v>313</c:v>
                </c:pt>
                <c:pt idx="430">
                  <c:v>331</c:v>
                </c:pt>
                <c:pt idx="431">
                  <c:v>338</c:v>
                </c:pt>
                <c:pt idx="432">
                  <c:v>340</c:v>
                </c:pt>
                <c:pt idx="433">
                  <c:v>386</c:v>
                </c:pt>
                <c:pt idx="434">
                  <c:v>399</c:v>
                </c:pt>
                <c:pt idx="435">
                  <c:v>408</c:v>
                </c:pt>
                <c:pt idx="436">
                  <c:v>432</c:v>
                </c:pt>
                <c:pt idx="437">
                  <c:v>461</c:v>
                </c:pt>
                <c:pt idx="438">
                  <c:v>469</c:v>
                </c:pt>
                <c:pt idx="439">
                  <c:v>475</c:v>
                </c:pt>
                <c:pt idx="440">
                  <c:v>521</c:v>
                </c:pt>
                <c:pt idx="441">
                  <c:v>517</c:v>
                </c:pt>
                <c:pt idx="442">
                  <c:v>500</c:v>
                </c:pt>
                <c:pt idx="443">
                  <c:v>515</c:v>
                </c:pt>
                <c:pt idx="444">
                  <c:v>538</c:v>
                </c:pt>
                <c:pt idx="445">
                  <c:v>524</c:v>
                </c:pt>
                <c:pt idx="446">
                  <c:v>520</c:v>
                </c:pt>
                <c:pt idx="447">
                  <c:v>573</c:v>
                </c:pt>
                <c:pt idx="448">
                  <c:v>573</c:v>
                </c:pt>
                <c:pt idx="449">
                  <c:v>578</c:v>
                </c:pt>
                <c:pt idx="450">
                  <c:v>576</c:v>
                </c:pt>
                <c:pt idx="451">
                  <c:v>584</c:v>
                </c:pt>
                <c:pt idx="452">
                  <c:v>572</c:v>
                </c:pt>
                <c:pt idx="453">
                  <c:v>565</c:v>
                </c:pt>
                <c:pt idx="454">
                  <c:v>591</c:v>
                </c:pt>
                <c:pt idx="455">
                  <c:v>583</c:v>
                </c:pt>
                <c:pt idx="456">
                  <c:v>570</c:v>
                </c:pt>
                <c:pt idx="457">
                  <c:v>598</c:v>
                </c:pt>
                <c:pt idx="458">
                  <c:v>563</c:v>
                </c:pt>
                <c:pt idx="459">
                  <c:v>533</c:v>
                </c:pt>
                <c:pt idx="460">
                  <c:v>523</c:v>
                </c:pt>
                <c:pt idx="461">
                  <c:v>551</c:v>
                </c:pt>
                <c:pt idx="462">
                  <c:v>522</c:v>
                </c:pt>
                <c:pt idx="463">
                  <c:v>493</c:v>
                </c:pt>
                <c:pt idx="464">
                  <c:v>512</c:v>
                </c:pt>
                <c:pt idx="465">
                  <c:v>505</c:v>
                </c:pt>
                <c:pt idx="466">
                  <c:v>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List1!$D$2:$D$468</c:f>
              <c:numCache>
                <c:formatCode>General</c:formatCode>
                <c:ptCount val="467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5</c:v>
                </c:pt>
                <c:pt idx="31">
                  <c:v>295</c:v>
                </c:pt>
                <c:pt idx="32">
                  <c:v>355</c:v>
                </c:pt>
                <c:pt idx="33">
                  <c:v>420</c:v>
                </c:pt>
                <c:pt idx="34">
                  <c:v>660</c:v>
                </c:pt>
                <c:pt idx="35">
                  <c:v>767</c:v>
                </c:pt>
                <c:pt idx="36">
                  <c:v>832</c:v>
                </c:pt>
                <c:pt idx="37">
                  <c:v>980</c:v>
                </c:pt>
                <c:pt idx="38">
                  <c:v>1193</c:v>
                </c:pt>
                <c:pt idx="39">
                  <c:v>1251</c:v>
                </c:pt>
                <c:pt idx="40">
                  <c:v>1232</c:v>
                </c:pt>
                <c:pt idx="41">
                  <c:v>1468</c:v>
                </c:pt>
                <c:pt idx="42">
                  <c:v>1758</c:v>
                </c:pt>
                <c:pt idx="43">
                  <c:v>2053</c:v>
                </c:pt>
                <c:pt idx="44">
                  <c:v>2387</c:v>
                </c:pt>
                <c:pt idx="45">
                  <c:v>2681</c:v>
                </c:pt>
                <c:pt idx="46">
                  <c:v>2823</c:v>
                </c:pt>
                <c:pt idx="47">
                  <c:v>2772</c:v>
                </c:pt>
                <c:pt idx="48">
                  <c:v>3077</c:v>
                </c:pt>
                <c:pt idx="49">
                  <c:v>3330</c:v>
                </c:pt>
                <c:pt idx="50">
                  <c:v>3824</c:v>
                </c:pt>
                <c:pt idx="51">
                  <c:v>4138</c:v>
                </c:pt>
                <c:pt idx="52">
                  <c:v>4683</c:v>
                </c:pt>
                <c:pt idx="53">
                  <c:v>4838</c:v>
                </c:pt>
                <c:pt idx="54">
                  <c:v>4846</c:v>
                </c:pt>
                <c:pt idx="55">
                  <c:v>5185</c:v>
                </c:pt>
                <c:pt idx="56">
                  <c:v>5682</c:v>
                </c:pt>
                <c:pt idx="57">
                  <c:v>5721</c:v>
                </c:pt>
                <c:pt idx="58">
                  <c:v>6552</c:v>
                </c:pt>
                <c:pt idx="59">
                  <c:v>6979</c:v>
                </c:pt>
                <c:pt idx="60">
                  <c:v>6979</c:v>
                </c:pt>
                <c:pt idx="61">
                  <c:v>6715</c:v>
                </c:pt>
                <c:pt idx="62">
                  <c:v>6791</c:v>
                </c:pt>
                <c:pt idx="63">
                  <c:v>6646</c:v>
                </c:pt>
                <c:pt idx="64">
                  <c:v>7043</c:v>
                </c:pt>
                <c:pt idx="65">
                  <c:v>7543</c:v>
                </c:pt>
                <c:pt idx="66">
                  <c:v>7221</c:v>
                </c:pt>
                <c:pt idx="67">
                  <c:v>6622</c:v>
                </c:pt>
                <c:pt idx="68">
                  <c:v>6441</c:v>
                </c:pt>
                <c:pt idx="69">
                  <c:v>6043</c:v>
                </c:pt>
                <c:pt idx="70">
                  <c:v>5780</c:v>
                </c:pt>
                <c:pt idx="71">
                  <c:v>6316</c:v>
                </c:pt>
                <c:pt idx="72">
                  <c:v>6817</c:v>
                </c:pt>
                <c:pt idx="73">
                  <c:v>6766</c:v>
                </c:pt>
                <c:pt idx="74">
                  <c:v>6222</c:v>
                </c:pt>
                <c:pt idx="75">
                  <c:v>5866</c:v>
                </c:pt>
                <c:pt idx="76">
                  <c:v>5833</c:v>
                </c:pt>
                <c:pt idx="77">
                  <c:v>5458</c:v>
                </c:pt>
                <c:pt idx="78">
                  <c:v>5747</c:v>
                </c:pt>
                <c:pt idx="79">
                  <c:v>5968</c:v>
                </c:pt>
                <c:pt idx="80">
                  <c:v>5968</c:v>
                </c:pt>
                <c:pt idx="81">
                  <c:v>5334</c:v>
                </c:pt>
                <c:pt idx="82">
                  <c:v>4874</c:v>
                </c:pt>
                <c:pt idx="83">
                  <c:v>4974</c:v>
                </c:pt>
                <c:pt idx="84">
                  <c:v>4625</c:v>
                </c:pt>
                <c:pt idx="85">
                  <c:v>4640</c:v>
                </c:pt>
                <c:pt idx="86">
                  <c:v>4755</c:v>
                </c:pt>
                <c:pt idx="87">
                  <c:v>4474</c:v>
                </c:pt>
                <c:pt idx="88">
                  <c:v>4404</c:v>
                </c:pt>
                <c:pt idx="89">
                  <c:v>4000</c:v>
                </c:pt>
                <c:pt idx="90">
                  <c:v>3874</c:v>
                </c:pt>
                <c:pt idx="91">
                  <c:v>3680</c:v>
                </c:pt>
                <c:pt idx="92">
                  <c:v>3757</c:v>
                </c:pt>
                <c:pt idx="93">
                  <c:v>3850</c:v>
                </c:pt>
                <c:pt idx="94">
                  <c:v>3674</c:v>
                </c:pt>
                <c:pt idx="95">
                  <c:v>3446</c:v>
                </c:pt>
                <c:pt idx="96">
                  <c:v>3219</c:v>
                </c:pt>
                <c:pt idx="97">
                  <c:v>3231</c:v>
                </c:pt>
                <c:pt idx="98">
                  <c:v>3073</c:v>
                </c:pt>
                <c:pt idx="99">
                  <c:v>3163</c:v>
                </c:pt>
                <c:pt idx="100">
                  <c:v>3260</c:v>
                </c:pt>
                <c:pt idx="101">
                  <c:v>3227</c:v>
                </c:pt>
                <c:pt idx="102">
                  <c:v>3064</c:v>
                </c:pt>
                <c:pt idx="103">
                  <c:v>2977</c:v>
                </c:pt>
                <c:pt idx="104">
                  <c:v>3018</c:v>
                </c:pt>
                <c:pt idx="105">
                  <c:v>3002</c:v>
                </c:pt>
                <c:pt idx="106">
                  <c:v>3070</c:v>
                </c:pt>
                <c:pt idx="107">
                  <c:v>3108</c:v>
                </c:pt>
                <c:pt idx="108">
                  <c:v>3109</c:v>
                </c:pt>
                <c:pt idx="109">
                  <c:v>2924</c:v>
                </c:pt>
                <c:pt idx="110">
                  <c:v>2807</c:v>
                </c:pt>
                <c:pt idx="111">
                  <c:v>2955</c:v>
                </c:pt>
                <c:pt idx="112">
                  <c:v>3014</c:v>
                </c:pt>
                <c:pt idx="113">
                  <c:v>3124</c:v>
                </c:pt>
                <c:pt idx="114">
                  <c:v>3105</c:v>
                </c:pt>
                <c:pt idx="115">
                  <c:v>2950</c:v>
                </c:pt>
                <c:pt idx="116">
                  <c:v>2881</c:v>
                </c:pt>
                <c:pt idx="117">
                  <c:v>2850</c:v>
                </c:pt>
                <c:pt idx="118">
                  <c:v>3007</c:v>
                </c:pt>
                <c:pt idx="119">
                  <c:v>3142</c:v>
                </c:pt>
                <c:pt idx="120">
                  <c:v>3315</c:v>
                </c:pt>
                <c:pt idx="121">
                  <c:v>3463</c:v>
                </c:pt>
                <c:pt idx="122">
                  <c:v>3233</c:v>
                </c:pt>
                <c:pt idx="123">
                  <c:v>3127</c:v>
                </c:pt>
                <c:pt idx="124">
                  <c:v>2894</c:v>
                </c:pt>
                <c:pt idx="125">
                  <c:v>3380</c:v>
                </c:pt>
                <c:pt idx="126">
                  <c:v>3588</c:v>
                </c:pt>
                <c:pt idx="127">
                  <c:v>3753</c:v>
                </c:pt>
                <c:pt idx="128">
                  <c:v>3954</c:v>
                </c:pt>
                <c:pt idx="129">
                  <c:v>3855</c:v>
                </c:pt>
                <c:pt idx="130">
                  <c:v>3606</c:v>
                </c:pt>
                <c:pt idx="131">
                  <c:v>3341</c:v>
                </c:pt>
                <c:pt idx="132">
                  <c:v>3626</c:v>
                </c:pt>
                <c:pt idx="133">
                  <c:v>3774</c:v>
                </c:pt>
                <c:pt idx="134">
                  <c:v>3946</c:v>
                </c:pt>
                <c:pt idx="135">
                  <c:v>3992</c:v>
                </c:pt>
                <c:pt idx="136">
                  <c:v>3766</c:v>
                </c:pt>
                <c:pt idx="137">
                  <c:v>3427</c:v>
                </c:pt>
                <c:pt idx="138">
                  <c:v>3162</c:v>
                </c:pt>
                <c:pt idx="139">
                  <c:v>3098</c:v>
                </c:pt>
                <c:pt idx="140">
                  <c:v>2934</c:v>
                </c:pt>
                <c:pt idx="141">
                  <c:v>3051</c:v>
                </c:pt>
                <c:pt idx="142">
                  <c:v>3149</c:v>
                </c:pt>
                <c:pt idx="143">
                  <c:v>2924</c:v>
                </c:pt>
                <c:pt idx="144">
                  <c:v>2783</c:v>
                </c:pt>
                <c:pt idx="145">
                  <c:v>2573</c:v>
                </c:pt>
                <c:pt idx="146">
                  <c:v>2546</c:v>
                </c:pt>
                <c:pt idx="147">
                  <c:v>2496</c:v>
                </c:pt>
                <c:pt idx="148">
                  <c:v>2574</c:v>
                </c:pt>
                <c:pt idx="149">
                  <c:v>2621</c:v>
                </c:pt>
                <c:pt idx="150">
                  <c:v>2395</c:v>
                </c:pt>
                <c:pt idx="151">
                  <c:v>2284</c:v>
                </c:pt>
                <c:pt idx="152">
                  <c:v>2069</c:v>
                </c:pt>
                <c:pt idx="153">
                  <c:v>2117</c:v>
                </c:pt>
                <c:pt idx="154">
                  <c:v>2130</c:v>
                </c:pt>
                <c:pt idx="155">
                  <c:v>2223</c:v>
                </c:pt>
                <c:pt idx="156">
                  <c:v>2273</c:v>
                </c:pt>
                <c:pt idx="157">
                  <c:v>2189</c:v>
                </c:pt>
                <c:pt idx="158">
                  <c:v>2057</c:v>
                </c:pt>
                <c:pt idx="159">
                  <c:v>1960</c:v>
                </c:pt>
                <c:pt idx="160">
                  <c:v>1998</c:v>
                </c:pt>
                <c:pt idx="161">
                  <c:v>1960</c:v>
                </c:pt>
                <c:pt idx="162">
                  <c:v>2006</c:v>
                </c:pt>
                <c:pt idx="163">
                  <c:v>2077</c:v>
                </c:pt>
                <c:pt idx="164">
                  <c:v>2003</c:v>
                </c:pt>
                <c:pt idx="165">
                  <c:v>1823</c:v>
                </c:pt>
                <c:pt idx="166">
                  <c:v>1680</c:v>
                </c:pt>
                <c:pt idx="167">
                  <c:v>1676</c:v>
                </c:pt>
                <c:pt idx="168">
                  <c:v>1582</c:v>
                </c:pt>
                <c:pt idx="169">
                  <c:v>1580</c:v>
                </c:pt>
                <c:pt idx="170">
                  <c:v>1609</c:v>
                </c:pt>
                <c:pt idx="171">
                  <c:v>1521</c:v>
                </c:pt>
                <c:pt idx="172">
                  <c:v>1420</c:v>
                </c:pt>
                <c:pt idx="173">
                  <c:v>1321</c:v>
                </c:pt>
                <c:pt idx="174">
                  <c:v>1395</c:v>
                </c:pt>
                <c:pt idx="175">
                  <c:v>1382</c:v>
                </c:pt>
                <c:pt idx="176">
                  <c:v>1409</c:v>
                </c:pt>
                <c:pt idx="177">
                  <c:v>1463</c:v>
                </c:pt>
                <c:pt idx="178">
                  <c:v>1430</c:v>
                </c:pt>
                <c:pt idx="179">
                  <c:v>1348</c:v>
                </c:pt>
                <c:pt idx="180">
                  <c:v>1294</c:v>
                </c:pt>
                <c:pt idx="181">
                  <c:v>1363</c:v>
                </c:pt>
                <c:pt idx="182">
                  <c:v>1322</c:v>
                </c:pt>
                <c:pt idx="183">
                  <c:v>1369</c:v>
                </c:pt>
                <c:pt idx="184">
                  <c:v>1387</c:v>
                </c:pt>
                <c:pt idx="185">
                  <c:v>1269</c:v>
                </c:pt>
                <c:pt idx="186">
                  <c:v>1189</c:v>
                </c:pt>
                <c:pt idx="187">
                  <c:v>1113</c:v>
                </c:pt>
                <c:pt idx="188">
                  <c:v>1125</c:v>
                </c:pt>
                <c:pt idx="189">
                  <c:v>1130</c:v>
                </c:pt>
                <c:pt idx="190">
                  <c:v>1191</c:v>
                </c:pt>
                <c:pt idx="191">
                  <c:v>1205</c:v>
                </c:pt>
                <c:pt idx="192">
                  <c:v>1242</c:v>
                </c:pt>
                <c:pt idx="193">
                  <c:v>1249</c:v>
                </c:pt>
                <c:pt idx="194">
                  <c:v>1254</c:v>
                </c:pt>
                <c:pt idx="195">
                  <c:v>1310</c:v>
                </c:pt>
                <c:pt idx="196">
                  <c:v>1208</c:v>
                </c:pt>
                <c:pt idx="197">
                  <c:v>1163</c:v>
                </c:pt>
                <c:pt idx="198">
                  <c:v>1112</c:v>
                </c:pt>
                <c:pt idx="199">
                  <c:v>1092</c:v>
                </c:pt>
                <c:pt idx="200">
                  <c:v>1039</c:v>
                </c:pt>
                <c:pt idx="201">
                  <c:v>1033</c:v>
                </c:pt>
                <c:pt idx="202">
                  <c:v>1062</c:v>
                </c:pt>
                <c:pt idx="203">
                  <c:v>1017</c:v>
                </c:pt>
                <c:pt idx="204">
                  <c:v>957</c:v>
                </c:pt>
                <c:pt idx="205">
                  <c:v>924</c:v>
                </c:pt>
                <c:pt idx="206">
                  <c:v>894</c:v>
                </c:pt>
                <c:pt idx="207">
                  <c:v>837</c:v>
                </c:pt>
                <c:pt idx="208">
                  <c:v>828</c:v>
                </c:pt>
                <c:pt idx="209">
                  <c:v>847</c:v>
                </c:pt>
                <c:pt idx="210">
                  <c:v>801</c:v>
                </c:pt>
                <c:pt idx="211">
                  <c:v>765</c:v>
                </c:pt>
                <c:pt idx="212">
                  <c:v>741</c:v>
                </c:pt>
                <c:pt idx="213">
                  <c:v>687</c:v>
                </c:pt>
                <c:pt idx="214">
                  <c:v>661</c:v>
                </c:pt>
                <c:pt idx="215">
                  <c:v>658</c:v>
                </c:pt>
                <c:pt idx="216">
                  <c:v>658</c:v>
                </c:pt>
                <c:pt idx="217">
                  <c:v>613</c:v>
                </c:pt>
                <c:pt idx="218">
                  <c:v>602</c:v>
                </c:pt>
                <c:pt idx="219">
                  <c:v>585</c:v>
                </c:pt>
                <c:pt idx="220">
                  <c:v>550</c:v>
                </c:pt>
                <c:pt idx="221">
                  <c:v>530</c:v>
                </c:pt>
                <c:pt idx="222">
                  <c:v>525</c:v>
                </c:pt>
                <c:pt idx="223">
                  <c:v>529</c:v>
                </c:pt>
                <c:pt idx="224">
                  <c:v>495</c:v>
                </c:pt>
                <c:pt idx="225">
                  <c:v>466</c:v>
                </c:pt>
                <c:pt idx="226">
                  <c:v>450</c:v>
                </c:pt>
                <c:pt idx="227">
                  <c:v>432</c:v>
                </c:pt>
                <c:pt idx="228">
                  <c:v>429</c:v>
                </c:pt>
                <c:pt idx="229">
                  <c:v>427</c:v>
                </c:pt>
                <c:pt idx="230">
                  <c:v>439</c:v>
                </c:pt>
                <c:pt idx="231">
                  <c:v>427</c:v>
                </c:pt>
                <c:pt idx="232">
                  <c:v>396</c:v>
                </c:pt>
                <c:pt idx="233">
                  <c:v>377</c:v>
                </c:pt>
                <c:pt idx="234">
                  <c:v>371</c:v>
                </c:pt>
                <c:pt idx="235">
                  <c:v>358</c:v>
                </c:pt>
                <c:pt idx="236">
                  <c:v>356</c:v>
                </c:pt>
                <c:pt idx="237">
                  <c:v>358</c:v>
                </c:pt>
                <c:pt idx="238">
                  <c:v>352</c:v>
                </c:pt>
                <c:pt idx="239">
                  <c:v>346</c:v>
                </c:pt>
                <c:pt idx="240">
                  <c:v>341</c:v>
                </c:pt>
                <c:pt idx="241">
                  <c:v>338</c:v>
                </c:pt>
                <c:pt idx="242">
                  <c:v>329</c:v>
                </c:pt>
                <c:pt idx="243">
                  <c:v>328</c:v>
                </c:pt>
                <c:pt idx="244">
                  <c:v>330</c:v>
                </c:pt>
                <c:pt idx="245">
                  <c:v>316</c:v>
                </c:pt>
                <c:pt idx="246">
                  <c:v>308</c:v>
                </c:pt>
                <c:pt idx="247">
                  <c:v>303</c:v>
                </c:pt>
                <c:pt idx="248">
                  <c:v>300</c:v>
                </c:pt>
                <c:pt idx="249">
                  <c:v>289</c:v>
                </c:pt>
                <c:pt idx="250">
                  <c:v>290</c:v>
                </c:pt>
                <c:pt idx="251">
                  <c:v>295</c:v>
                </c:pt>
                <c:pt idx="252">
                  <c:v>291</c:v>
                </c:pt>
                <c:pt idx="253">
                  <c:v>284</c:v>
                </c:pt>
                <c:pt idx="254">
                  <c:v>283</c:v>
                </c:pt>
                <c:pt idx="255">
                  <c:v>282</c:v>
                </c:pt>
                <c:pt idx="256">
                  <c:v>277</c:v>
                </c:pt>
                <c:pt idx="257">
                  <c:v>276</c:v>
                </c:pt>
                <c:pt idx="258">
                  <c:v>279</c:v>
                </c:pt>
                <c:pt idx="259">
                  <c:v>276</c:v>
                </c:pt>
                <c:pt idx="260">
                  <c:v>274</c:v>
                </c:pt>
                <c:pt idx="261">
                  <c:v>272</c:v>
                </c:pt>
                <c:pt idx="262">
                  <c:v>271</c:v>
                </c:pt>
                <c:pt idx="263">
                  <c:v>267</c:v>
                </c:pt>
                <c:pt idx="264">
                  <c:v>266</c:v>
                </c:pt>
                <c:pt idx="265">
                  <c:v>269</c:v>
                </c:pt>
                <c:pt idx="266">
                  <c:v>266</c:v>
                </c:pt>
                <c:pt idx="267">
                  <c:v>262</c:v>
                </c:pt>
                <c:pt idx="268">
                  <c:v>259</c:v>
                </c:pt>
                <c:pt idx="269">
                  <c:v>256</c:v>
                </c:pt>
                <c:pt idx="270">
                  <c:v>254</c:v>
                </c:pt>
                <c:pt idx="271">
                  <c:v>251</c:v>
                </c:pt>
                <c:pt idx="272">
                  <c:v>249</c:v>
                </c:pt>
                <c:pt idx="273">
                  <c:v>245</c:v>
                </c:pt>
                <c:pt idx="274">
                  <c:v>245</c:v>
                </c:pt>
                <c:pt idx="275">
                  <c:v>240</c:v>
                </c:pt>
                <c:pt idx="276">
                  <c:v>234</c:v>
                </c:pt>
                <c:pt idx="277">
                  <c:v>233</c:v>
                </c:pt>
                <c:pt idx="278">
                  <c:v>233</c:v>
                </c:pt>
                <c:pt idx="279">
                  <c:v>232</c:v>
                </c:pt>
                <c:pt idx="280">
                  <c:v>230</c:v>
                </c:pt>
                <c:pt idx="281">
                  <c:v>227</c:v>
                </c:pt>
                <c:pt idx="282">
                  <c:v>226</c:v>
                </c:pt>
                <c:pt idx="283">
                  <c:v>227</c:v>
                </c:pt>
                <c:pt idx="284">
                  <c:v>224</c:v>
                </c:pt>
                <c:pt idx="285">
                  <c:v>224</c:v>
                </c:pt>
                <c:pt idx="286">
                  <c:v>224</c:v>
                </c:pt>
                <c:pt idx="287">
                  <c:v>224</c:v>
                </c:pt>
                <c:pt idx="288">
                  <c:v>224</c:v>
                </c:pt>
                <c:pt idx="289">
                  <c:v>223</c:v>
                </c:pt>
                <c:pt idx="290">
                  <c:v>223</c:v>
                </c:pt>
                <c:pt idx="291">
                  <c:v>223</c:v>
                </c:pt>
                <c:pt idx="292">
                  <c:v>223</c:v>
                </c:pt>
                <c:pt idx="293">
                  <c:v>223</c:v>
                </c:pt>
                <c:pt idx="294">
                  <c:v>223</c:v>
                </c:pt>
                <c:pt idx="295">
                  <c:v>224</c:v>
                </c:pt>
                <c:pt idx="296">
                  <c:v>222</c:v>
                </c:pt>
                <c:pt idx="297">
                  <c:v>220</c:v>
                </c:pt>
                <c:pt idx="298">
                  <c:v>220</c:v>
                </c:pt>
                <c:pt idx="299">
                  <c:v>220</c:v>
                </c:pt>
                <c:pt idx="300">
                  <c:v>220</c:v>
                </c:pt>
                <c:pt idx="301">
                  <c:v>220</c:v>
                </c:pt>
                <c:pt idx="302">
                  <c:v>220</c:v>
                </c:pt>
                <c:pt idx="303">
                  <c:v>221</c:v>
                </c:pt>
                <c:pt idx="304">
                  <c:v>219</c:v>
                </c:pt>
                <c:pt idx="305">
                  <c:v>219</c:v>
                </c:pt>
                <c:pt idx="306">
                  <c:v>220</c:v>
                </c:pt>
                <c:pt idx="307">
                  <c:v>220</c:v>
                </c:pt>
                <c:pt idx="308">
                  <c:v>220</c:v>
                </c:pt>
                <c:pt idx="309">
                  <c:v>220</c:v>
                </c:pt>
                <c:pt idx="310">
                  <c:v>219</c:v>
                </c:pt>
                <c:pt idx="311">
                  <c:v>219</c:v>
                </c:pt>
                <c:pt idx="312">
                  <c:v>219</c:v>
                </c:pt>
                <c:pt idx="313">
                  <c:v>220</c:v>
                </c:pt>
                <c:pt idx="314">
                  <c:v>220</c:v>
                </c:pt>
                <c:pt idx="315">
                  <c:v>220</c:v>
                </c:pt>
                <c:pt idx="316">
                  <c:v>220</c:v>
                </c:pt>
                <c:pt idx="317">
                  <c:v>220</c:v>
                </c:pt>
                <c:pt idx="318">
                  <c:v>219</c:v>
                </c:pt>
                <c:pt idx="319">
                  <c:v>219</c:v>
                </c:pt>
                <c:pt idx="320">
                  <c:v>219</c:v>
                </c:pt>
                <c:pt idx="321">
                  <c:v>219</c:v>
                </c:pt>
                <c:pt idx="322">
                  <c:v>218</c:v>
                </c:pt>
                <c:pt idx="323">
                  <c:v>219</c:v>
                </c:pt>
                <c:pt idx="324">
                  <c:v>218</c:v>
                </c:pt>
                <c:pt idx="325">
                  <c:v>218</c:v>
                </c:pt>
                <c:pt idx="326">
                  <c:v>218</c:v>
                </c:pt>
                <c:pt idx="327">
                  <c:v>217</c:v>
                </c:pt>
                <c:pt idx="328">
                  <c:v>216</c:v>
                </c:pt>
                <c:pt idx="329">
                  <c:v>217</c:v>
                </c:pt>
                <c:pt idx="330">
                  <c:v>218</c:v>
                </c:pt>
                <c:pt idx="331">
                  <c:v>218</c:v>
                </c:pt>
                <c:pt idx="332">
                  <c:v>217</c:v>
                </c:pt>
                <c:pt idx="333">
                  <c:v>217</c:v>
                </c:pt>
                <c:pt idx="334">
                  <c:v>217</c:v>
                </c:pt>
                <c:pt idx="335">
                  <c:v>217</c:v>
                </c:pt>
                <c:pt idx="336">
                  <c:v>216</c:v>
                </c:pt>
                <c:pt idx="337">
                  <c:v>216</c:v>
                </c:pt>
                <c:pt idx="338">
                  <c:v>215</c:v>
                </c:pt>
                <c:pt idx="339">
                  <c:v>215</c:v>
                </c:pt>
                <c:pt idx="340">
                  <c:v>215</c:v>
                </c:pt>
                <c:pt idx="341">
                  <c:v>216</c:v>
                </c:pt>
                <c:pt idx="342">
                  <c:v>216</c:v>
                </c:pt>
                <c:pt idx="343">
                  <c:v>215</c:v>
                </c:pt>
                <c:pt idx="344">
                  <c:v>215</c:v>
                </c:pt>
                <c:pt idx="345">
                  <c:v>215</c:v>
                </c:pt>
                <c:pt idx="346">
                  <c:v>215</c:v>
                </c:pt>
                <c:pt idx="347">
                  <c:v>215</c:v>
                </c:pt>
                <c:pt idx="348">
                  <c:v>215</c:v>
                </c:pt>
                <c:pt idx="349">
                  <c:v>216</c:v>
                </c:pt>
                <c:pt idx="350">
                  <c:v>216</c:v>
                </c:pt>
                <c:pt idx="351">
                  <c:v>216</c:v>
                </c:pt>
                <c:pt idx="352">
                  <c:v>217</c:v>
                </c:pt>
                <c:pt idx="353">
                  <c:v>216</c:v>
                </c:pt>
                <c:pt idx="354">
                  <c:v>216</c:v>
                </c:pt>
                <c:pt idx="355">
                  <c:v>216</c:v>
                </c:pt>
                <c:pt idx="356">
                  <c:v>219</c:v>
                </c:pt>
                <c:pt idx="357">
                  <c:v>219</c:v>
                </c:pt>
                <c:pt idx="358">
                  <c:v>219</c:v>
                </c:pt>
                <c:pt idx="359">
                  <c:v>219</c:v>
                </c:pt>
                <c:pt idx="360">
                  <c:v>220</c:v>
                </c:pt>
                <c:pt idx="361">
                  <c:v>219</c:v>
                </c:pt>
                <c:pt idx="362">
                  <c:v>219</c:v>
                </c:pt>
                <c:pt idx="363">
                  <c:v>219</c:v>
                </c:pt>
                <c:pt idx="364">
                  <c:v>219</c:v>
                </c:pt>
                <c:pt idx="365">
                  <c:v>222</c:v>
                </c:pt>
                <c:pt idx="366">
                  <c:v>227</c:v>
                </c:pt>
                <c:pt idx="367">
                  <c:v>230</c:v>
                </c:pt>
                <c:pt idx="368">
                  <c:v>231</c:v>
                </c:pt>
                <c:pt idx="369">
                  <c:v>230</c:v>
                </c:pt>
                <c:pt idx="370">
                  <c:v>235</c:v>
                </c:pt>
                <c:pt idx="371">
                  <c:v>233</c:v>
                </c:pt>
                <c:pt idx="372">
                  <c:v>234</c:v>
                </c:pt>
                <c:pt idx="373">
                  <c:v>235</c:v>
                </c:pt>
                <c:pt idx="374">
                  <c:v>235</c:v>
                </c:pt>
                <c:pt idx="375">
                  <c:v>234</c:v>
                </c:pt>
                <c:pt idx="376">
                  <c:v>233</c:v>
                </c:pt>
                <c:pt idx="377">
                  <c:v>234</c:v>
                </c:pt>
                <c:pt idx="378">
                  <c:v>235</c:v>
                </c:pt>
                <c:pt idx="379">
                  <c:v>234</c:v>
                </c:pt>
                <c:pt idx="380">
                  <c:v>233</c:v>
                </c:pt>
                <c:pt idx="381">
                  <c:v>230</c:v>
                </c:pt>
                <c:pt idx="382">
                  <c:v>228</c:v>
                </c:pt>
                <c:pt idx="383">
                  <c:v>228</c:v>
                </c:pt>
                <c:pt idx="384">
                  <c:v>233</c:v>
                </c:pt>
                <c:pt idx="385">
                  <c:v>231</c:v>
                </c:pt>
                <c:pt idx="386">
                  <c:v>232</c:v>
                </c:pt>
                <c:pt idx="387">
                  <c:v>230</c:v>
                </c:pt>
                <c:pt idx="388">
                  <c:v>230</c:v>
                </c:pt>
                <c:pt idx="389">
                  <c:v>231</c:v>
                </c:pt>
                <c:pt idx="390">
                  <c:v>232</c:v>
                </c:pt>
                <c:pt idx="391">
                  <c:v>238</c:v>
                </c:pt>
                <c:pt idx="392">
                  <c:v>238</c:v>
                </c:pt>
                <c:pt idx="393">
                  <c:v>244</c:v>
                </c:pt>
                <c:pt idx="394">
                  <c:v>245</c:v>
                </c:pt>
                <c:pt idx="395">
                  <c:v>247</c:v>
                </c:pt>
                <c:pt idx="396">
                  <c:v>247</c:v>
                </c:pt>
                <c:pt idx="397">
                  <c:v>247</c:v>
                </c:pt>
                <c:pt idx="398">
                  <c:v>251</c:v>
                </c:pt>
                <c:pt idx="399">
                  <c:v>255</c:v>
                </c:pt>
                <c:pt idx="400">
                  <c:v>263</c:v>
                </c:pt>
                <c:pt idx="401">
                  <c:v>263</c:v>
                </c:pt>
                <c:pt idx="402">
                  <c:v>289</c:v>
                </c:pt>
                <c:pt idx="403">
                  <c:v>290</c:v>
                </c:pt>
                <c:pt idx="404">
                  <c:v>288</c:v>
                </c:pt>
                <c:pt idx="405">
                  <c:v>291</c:v>
                </c:pt>
                <c:pt idx="406">
                  <c:v>287</c:v>
                </c:pt>
                <c:pt idx="407">
                  <c:v>306</c:v>
                </c:pt>
                <c:pt idx="408">
                  <c:v>304</c:v>
                </c:pt>
                <c:pt idx="409">
                  <c:v>309</c:v>
                </c:pt>
                <c:pt idx="410">
                  <c:v>309</c:v>
                </c:pt>
                <c:pt idx="411">
                  <c:v>309</c:v>
                </c:pt>
                <c:pt idx="412">
                  <c:v>325</c:v>
                </c:pt>
                <c:pt idx="413">
                  <c:v>328</c:v>
                </c:pt>
                <c:pt idx="414">
                  <c:v>331</c:v>
                </c:pt>
                <c:pt idx="415">
                  <c:v>334</c:v>
                </c:pt>
                <c:pt idx="416">
                  <c:v>323</c:v>
                </c:pt>
                <c:pt idx="417">
                  <c:v>318</c:v>
                </c:pt>
                <c:pt idx="418">
                  <c:v>319</c:v>
                </c:pt>
                <c:pt idx="419">
                  <c:v>349</c:v>
                </c:pt>
                <c:pt idx="420">
                  <c:v>359</c:v>
                </c:pt>
                <c:pt idx="421">
                  <c:v>379</c:v>
                </c:pt>
                <c:pt idx="422">
                  <c:v>364</c:v>
                </c:pt>
                <c:pt idx="423">
                  <c:v>387</c:v>
                </c:pt>
                <c:pt idx="424">
                  <c:v>390</c:v>
                </c:pt>
                <c:pt idx="425">
                  <c:v>400</c:v>
                </c:pt>
                <c:pt idx="426">
                  <c:v>475</c:v>
                </c:pt>
                <c:pt idx="427">
                  <c:v>495</c:v>
                </c:pt>
                <c:pt idx="428">
                  <c:v>512</c:v>
                </c:pt>
                <c:pt idx="429">
                  <c:v>572</c:v>
                </c:pt>
                <c:pt idx="430">
                  <c:v>609</c:v>
                </c:pt>
                <c:pt idx="431">
                  <c:v>610</c:v>
                </c:pt>
                <c:pt idx="432">
                  <c:v>611</c:v>
                </c:pt>
                <c:pt idx="433">
                  <c:v>682</c:v>
                </c:pt>
                <c:pt idx="434">
                  <c:v>708</c:v>
                </c:pt>
                <c:pt idx="435">
                  <c:v>723</c:v>
                </c:pt>
                <c:pt idx="436">
                  <c:v>754</c:v>
                </c:pt>
                <c:pt idx="437">
                  <c:v>795</c:v>
                </c:pt>
                <c:pt idx="438">
                  <c:v>801</c:v>
                </c:pt>
                <c:pt idx="439">
                  <c:v>812</c:v>
                </c:pt>
                <c:pt idx="440">
                  <c:v>888</c:v>
                </c:pt>
                <c:pt idx="441">
                  <c:v>886</c:v>
                </c:pt>
                <c:pt idx="442">
                  <c:v>871</c:v>
                </c:pt>
                <c:pt idx="443">
                  <c:v>916</c:v>
                </c:pt>
                <c:pt idx="444">
                  <c:v>994</c:v>
                </c:pt>
                <c:pt idx="445">
                  <c:v>984</c:v>
                </c:pt>
                <c:pt idx="446">
                  <c:v>979</c:v>
                </c:pt>
                <c:pt idx="447">
                  <c:v>1071</c:v>
                </c:pt>
                <c:pt idx="448">
                  <c:v>1057</c:v>
                </c:pt>
                <c:pt idx="449">
                  <c:v>1066</c:v>
                </c:pt>
                <c:pt idx="450">
                  <c:v>1071</c:v>
                </c:pt>
                <c:pt idx="451">
                  <c:v>1111</c:v>
                </c:pt>
                <c:pt idx="452">
                  <c:v>1081</c:v>
                </c:pt>
                <c:pt idx="453">
                  <c:v>1071</c:v>
                </c:pt>
                <c:pt idx="454">
                  <c:v>1114</c:v>
                </c:pt>
                <c:pt idx="455">
                  <c:v>1089</c:v>
                </c:pt>
                <c:pt idx="456">
                  <c:v>1043</c:v>
                </c:pt>
                <c:pt idx="457">
                  <c:v>1071</c:v>
                </c:pt>
                <c:pt idx="458">
                  <c:v>933</c:v>
                </c:pt>
                <c:pt idx="459">
                  <c:v>925</c:v>
                </c:pt>
                <c:pt idx="460">
                  <c:v>894</c:v>
                </c:pt>
                <c:pt idx="461">
                  <c:v>929</c:v>
                </c:pt>
                <c:pt idx="462">
                  <c:v>871</c:v>
                </c:pt>
                <c:pt idx="463">
                  <c:v>840</c:v>
                </c:pt>
                <c:pt idx="464">
                  <c:v>826</c:v>
                </c:pt>
                <c:pt idx="465">
                  <c:v>815</c:v>
                </c:pt>
                <c:pt idx="466">
                  <c:v>7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klientů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2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5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5</c:v>
                </c:pt>
                <c:pt idx="50">
                  <c:v>3</c:v>
                </c:pt>
                <c:pt idx="51">
                  <c:v>3</c:v>
                </c:pt>
                <c:pt idx="52">
                  <c:v>6</c:v>
                </c:pt>
                <c:pt idx="53">
                  <c:v>3</c:v>
                </c:pt>
                <c:pt idx="54">
                  <c:v>10</c:v>
                </c:pt>
                <c:pt idx="55">
                  <c:v>10</c:v>
                </c:pt>
                <c:pt idx="56">
                  <c:v>16</c:v>
                </c:pt>
                <c:pt idx="57">
                  <c:v>9</c:v>
                </c:pt>
                <c:pt idx="58">
                  <c:v>16</c:v>
                </c:pt>
                <c:pt idx="59">
                  <c:v>19</c:v>
                </c:pt>
                <c:pt idx="60">
                  <c:v>20</c:v>
                </c:pt>
                <c:pt idx="61">
                  <c:v>23</c:v>
                </c:pt>
                <c:pt idx="62">
                  <c:v>31</c:v>
                </c:pt>
                <c:pt idx="63">
                  <c:v>29</c:v>
                </c:pt>
                <c:pt idx="64">
                  <c:v>41</c:v>
                </c:pt>
                <c:pt idx="65">
                  <c:v>47</c:v>
                </c:pt>
                <c:pt idx="66">
                  <c:v>34</c:v>
                </c:pt>
                <c:pt idx="67">
                  <c:v>52</c:v>
                </c:pt>
                <c:pt idx="68">
                  <c:v>61</c:v>
                </c:pt>
                <c:pt idx="69">
                  <c:v>77</c:v>
                </c:pt>
                <c:pt idx="70">
                  <c:v>64</c:v>
                </c:pt>
                <c:pt idx="71">
                  <c:v>84</c:v>
                </c:pt>
                <c:pt idx="72">
                  <c:v>83</c:v>
                </c:pt>
                <c:pt idx="73">
                  <c:v>100</c:v>
                </c:pt>
                <c:pt idx="74">
                  <c:v>109</c:v>
                </c:pt>
                <c:pt idx="75">
                  <c:v>113</c:v>
                </c:pt>
                <c:pt idx="76">
                  <c:v>124</c:v>
                </c:pt>
                <c:pt idx="77">
                  <c:v>105</c:v>
                </c:pt>
                <c:pt idx="78">
                  <c:v>131</c:v>
                </c:pt>
                <c:pt idx="79">
                  <c:v>135</c:v>
                </c:pt>
                <c:pt idx="80">
                  <c:v>155</c:v>
                </c:pt>
                <c:pt idx="81">
                  <c:v>179</c:v>
                </c:pt>
                <c:pt idx="82">
                  <c:v>157</c:v>
                </c:pt>
                <c:pt idx="83">
                  <c:v>194</c:v>
                </c:pt>
                <c:pt idx="84">
                  <c:v>196</c:v>
                </c:pt>
                <c:pt idx="85">
                  <c:v>179</c:v>
                </c:pt>
                <c:pt idx="86">
                  <c:v>176</c:v>
                </c:pt>
                <c:pt idx="87">
                  <c:v>154</c:v>
                </c:pt>
                <c:pt idx="88">
                  <c:v>103</c:v>
                </c:pt>
                <c:pt idx="89">
                  <c:v>90</c:v>
                </c:pt>
                <c:pt idx="90">
                  <c:v>63</c:v>
                </c:pt>
                <c:pt idx="91">
                  <c:v>58</c:v>
                </c:pt>
                <c:pt idx="92">
                  <c:v>51</c:v>
                </c:pt>
                <c:pt idx="93">
                  <c:v>28</c:v>
                </c:pt>
                <c:pt idx="94">
                  <c:v>22</c:v>
                </c:pt>
                <c:pt idx="95">
                  <c:v>9</c:v>
                </c:pt>
                <c:pt idx="96">
                  <c:v>4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2</c:v>
                </c:pt>
                <c:pt idx="6">
                  <c:v>14</c:v>
                </c:pt>
                <c:pt idx="7">
                  <c:v>12</c:v>
                </c:pt>
                <c:pt idx="8">
                  <c:v>18</c:v>
                </c:pt>
                <c:pt idx="9">
                  <c:v>18</c:v>
                </c:pt>
                <c:pt idx="10">
                  <c:v>12</c:v>
                </c:pt>
                <c:pt idx="11">
                  <c:v>28</c:v>
                </c:pt>
                <c:pt idx="12">
                  <c:v>13</c:v>
                </c:pt>
                <c:pt idx="13">
                  <c:v>21</c:v>
                </c:pt>
                <c:pt idx="14">
                  <c:v>22</c:v>
                </c:pt>
                <c:pt idx="15">
                  <c:v>33</c:v>
                </c:pt>
                <c:pt idx="16">
                  <c:v>25</c:v>
                </c:pt>
                <c:pt idx="17">
                  <c:v>24</c:v>
                </c:pt>
                <c:pt idx="18">
                  <c:v>34</c:v>
                </c:pt>
                <c:pt idx="19">
                  <c:v>43</c:v>
                </c:pt>
                <c:pt idx="20">
                  <c:v>50</c:v>
                </c:pt>
                <c:pt idx="21">
                  <c:v>57</c:v>
                </c:pt>
                <c:pt idx="22">
                  <c:v>53</c:v>
                </c:pt>
                <c:pt idx="23">
                  <c:v>72</c:v>
                </c:pt>
                <c:pt idx="24">
                  <c:v>60</c:v>
                </c:pt>
                <c:pt idx="25">
                  <c:v>70</c:v>
                </c:pt>
                <c:pt idx="26">
                  <c:v>78</c:v>
                </c:pt>
                <c:pt idx="27">
                  <c:v>75</c:v>
                </c:pt>
                <c:pt idx="28">
                  <c:v>81</c:v>
                </c:pt>
                <c:pt idx="29">
                  <c:v>92</c:v>
                </c:pt>
                <c:pt idx="30">
                  <c:v>84</c:v>
                </c:pt>
                <c:pt idx="31">
                  <c:v>78</c:v>
                </c:pt>
                <c:pt idx="32">
                  <c:v>91</c:v>
                </c:pt>
                <c:pt idx="33">
                  <c:v>120</c:v>
                </c:pt>
                <c:pt idx="34">
                  <c:v>101</c:v>
                </c:pt>
                <c:pt idx="35">
                  <c:v>122</c:v>
                </c:pt>
                <c:pt idx="36">
                  <c:v>141</c:v>
                </c:pt>
                <c:pt idx="37">
                  <c:v>123</c:v>
                </c:pt>
                <c:pt idx="38">
                  <c:v>129</c:v>
                </c:pt>
                <c:pt idx="39">
                  <c:v>147</c:v>
                </c:pt>
                <c:pt idx="40">
                  <c:v>144</c:v>
                </c:pt>
                <c:pt idx="41">
                  <c:v>144</c:v>
                </c:pt>
                <c:pt idx="42">
                  <c:v>149</c:v>
                </c:pt>
                <c:pt idx="43">
                  <c:v>128</c:v>
                </c:pt>
                <c:pt idx="44">
                  <c:v>134</c:v>
                </c:pt>
                <c:pt idx="45">
                  <c:v>134</c:v>
                </c:pt>
                <c:pt idx="46">
                  <c:v>161</c:v>
                </c:pt>
                <c:pt idx="47">
                  <c:v>122</c:v>
                </c:pt>
                <c:pt idx="48">
                  <c:v>139</c:v>
                </c:pt>
                <c:pt idx="49">
                  <c:v>160</c:v>
                </c:pt>
                <c:pt idx="50">
                  <c:v>181</c:v>
                </c:pt>
                <c:pt idx="51">
                  <c:v>165</c:v>
                </c:pt>
                <c:pt idx="52">
                  <c:v>163</c:v>
                </c:pt>
                <c:pt idx="53">
                  <c:v>140</c:v>
                </c:pt>
                <c:pt idx="54">
                  <c:v>182</c:v>
                </c:pt>
                <c:pt idx="55">
                  <c:v>202</c:v>
                </c:pt>
                <c:pt idx="56">
                  <c:v>206</c:v>
                </c:pt>
                <c:pt idx="57">
                  <c:v>216</c:v>
                </c:pt>
                <c:pt idx="58">
                  <c:v>254</c:v>
                </c:pt>
                <c:pt idx="59">
                  <c:v>292</c:v>
                </c:pt>
                <c:pt idx="60">
                  <c:v>272</c:v>
                </c:pt>
                <c:pt idx="61">
                  <c:v>304</c:v>
                </c:pt>
                <c:pt idx="62">
                  <c:v>320</c:v>
                </c:pt>
                <c:pt idx="63">
                  <c:v>338</c:v>
                </c:pt>
                <c:pt idx="64">
                  <c:v>419</c:v>
                </c:pt>
                <c:pt idx="65">
                  <c:v>427</c:v>
                </c:pt>
                <c:pt idx="66">
                  <c:v>435</c:v>
                </c:pt>
                <c:pt idx="67">
                  <c:v>527</c:v>
                </c:pt>
                <c:pt idx="68">
                  <c:v>570</c:v>
                </c:pt>
                <c:pt idx="69">
                  <c:v>599</c:v>
                </c:pt>
                <c:pt idx="70">
                  <c:v>549</c:v>
                </c:pt>
                <c:pt idx="71">
                  <c:v>691</c:v>
                </c:pt>
                <c:pt idx="72">
                  <c:v>708</c:v>
                </c:pt>
                <c:pt idx="73">
                  <c:v>747</c:v>
                </c:pt>
                <c:pt idx="74">
                  <c:v>806</c:v>
                </c:pt>
                <c:pt idx="75">
                  <c:v>862</c:v>
                </c:pt>
                <c:pt idx="76">
                  <c:v>859</c:v>
                </c:pt>
                <c:pt idx="77">
                  <c:v>885</c:v>
                </c:pt>
                <c:pt idx="78">
                  <c:v>996</c:v>
                </c:pt>
                <c:pt idx="79">
                  <c:v>958</c:v>
                </c:pt>
                <c:pt idx="80">
                  <c:v>1111</c:v>
                </c:pt>
                <c:pt idx="81">
                  <c:v>1142</c:v>
                </c:pt>
                <c:pt idx="82">
                  <c:v>1169</c:v>
                </c:pt>
                <c:pt idx="83">
                  <c:v>1249</c:v>
                </c:pt>
                <c:pt idx="84">
                  <c:v>1185</c:v>
                </c:pt>
                <c:pt idx="85">
                  <c:v>1161</c:v>
                </c:pt>
                <c:pt idx="86">
                  <c:v>1004</c:v>
                </c:pt>
                <c:pt idx="87">
                  <c:v>892</c:v>
                </c:pt>
                <c:pt idx="88">
                  <c:v>729</c:v>
                </c:pt>
                <c:pt idx="89">
                  <c:v>513</c:v>
                </c:pt>
                <c:pt idx="90">
                  <c:v>405</c:v>
                </c:pt>
                <c:pt idx="91">
                  <c:v>307</c:v>
                </c:pt>
                <c:pt idx="92">
                  <c:v>230</c:v>
                </c:pt>
                <c:pt idx="93">
                  <c:v>149</c:v>
                </c:pt>
                <c:pt idx="94">
                  <c:v>88</c:v>
                </c:pt>
                <c:pt idx="95">
                  <c:v>44</c:v>
                </c:pt>
                <c:pt idx="96">
                  <c:v>28</c:v>
                </c:pt>
                <c:pt idx="97">
                  <c:v>7</c:v>
                </c:pt>
                <c:pt idx="98">
                  <c:v>5</c:v>
                </c:pt>
                <c:pt idx="99">
                  <c:v>3</c:v>
                </c:pt>
                <c:pt idx="10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Sheet1!$B$2:$B$468</c:f>
              <c:numCache>
                <c:formatCode>#\ ##0_ ;\-#\ ##0\ </c:formatCode>
                <c:ptCount val="467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0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1</c:v>
                </c:pt>
                <c:pt idx="45">
                  <c:v>206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7</c:v>
                </c:pt>
                <c:pt idx="52">
                  <c:v>415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2</c:v>
                </c:pt>
                <c:pt idx="57">
                  <c:v>260</c:v>
                </c:pt>
                <c:pt idx="58">
                  <c:v>537</c:v>
                </c:pt>
                <c:pt idx="59">
                  <c:v>587</c:v>
                </c:pt>
                <c:pt idx="60">
                  <c:v>336</c:v>
                </c:pt>
                <c:pt idx="61">
                  <c:v>212</c:v>
                </c:pt>
                <c:pt idx="62">
                  <c:v>331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8</c:v>
                </c:pt>
                <c:pt idx="67">
                  <c:v>214</c:v>
                </c:pt>
                <c:pt idx="68">
                  <c:v>78</c:v>
                </c:pt>
                <c:pt idx="69">
                  <c:v>204</c:v>
                </c:pt>
                <c:pt idx="70">
                  <c:v>385</c:v>
                </c:pt>
                <c:pt idx="71">
                  <c:v>677</c:v>
                </c:pt>
                <c:pt idx="72">
                  <c:v>498</c:v>
                </c:pt>
                <c:pt idx="73">
                  <c:v>481</c:v>
                </c:pt>
                <c:pt idx="74">
                  <c:v>179</c:v>
                </c:pt>
                <c:pt idx="75">
                  <c:v>164</c:v>
                </c:pt>
                <c:pt idx="76">
                  <c:v>382</c:v>
                </c:pt>
                <c:pt idx="77">
                  <c:v>137</c:v>
                </c:pt>
                <c:pt idx="78">
                  <c:v>266</c:v>
                </c:pt>
                <c:pt idx="79">
                  <c:v>269</c:v>
                </c:pt>
                <c:pt idx="80">
                  <c:v>238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8</c:v>
                </c:pt>
                <c:pt idx="85">
                  <c:v>124</c:v>
                </c:pt>
                <c:pt idx="86">
                  <c:v>194</c:v>
                </c:pt>
                <c:pt idx="87">
                  <c:v>138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3</c:v>
                </c:pt>
                <c:pt idx="92">
                  <c:v>132</c:v>
                </c:pt>
                <c:pt idx="93">
                  <c:v>128</c:v>
                </c:pt>
                <c:pt idx="94">
                  <c:v>142</c:v>
                </c:pt>
                <c:pt idx="95">
                  <c:v>89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0</c:v>
                </c:pt>
                <c:pt idx="100">
                  <c:v>83</c:v>
                </c:pt>
                <c:pt idx="101">
                  <c:v>229</c:v>
                </c:pt>
                <c:pt idx="102">
                  <c:v>67</c:v>
                </c:pt>
                <c:pt idx="103">
                  <c:v>49</c:v>
                </c:pt>
                <c:pt idx="104">
                  <c:v>147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2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4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1</c:v>
                </c:pt>
                <c:pt idx="125">
                  <c:v>269</c:v>
                </c:pt>
                <c:pt idx="126">
                  <c:v>152</c:v>
                </c:pt>
                <c:pt idx="127">
                  <c:v>164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30</c:v>
                </c:pt>
                <c:pt idx="132">
                  <c:v>238</c:v>
                </c:pt>
                <c:pt idx="133">
                  <c:v>126</c:v>
                </c:pt>
                <c:pt idx="134">
                  <c:v>174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6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5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2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5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6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28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1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0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29</c:v>
                </c:pt>
                <c:pt idx="435">
                  <c:v>15</c:v>
                </c:pt>
                <c:pt idx="436">
                  <c:v>17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4</c:v>
                </c:pt>
                <c:pt idx="444">
                  <c:v>84</c:v>
                </c:pt>
                <c:pt idx="445">
                  <c:v>26</c:v>
                </c:pt>
                <c:pt idx="446">
                  <c:v>10</c:v>
                </c:pt>
                <c:pt idx="447">
                  <c:v>47</c:v>
                </c:pt>
                <c:pt idx="448">
                  <c:v>22</c:v>
                </c:pt>
                <c:pt idx="449">
                  <c:v>37</c:v>
                </c:pt>
                <c:pt idx="450">
                  <c:v>34</c:v>
                </c:pt>
                <c:pt idx="451">
                  <c:v>53</c:v>
                </c:pt>
                <c:pt idx="452">
                  <c:v>3</c:v>
                </c:pt>
                <c:pt idx="453">
                  <c:v>5</c:v>
                </c:pt>
                <c:pt idx="454">
                  <c:v>28</c:v>
                </c:pt>
                <c:pt idx="455">
                  <c:v>21</c:v>
                </c:pt>
                <c:pt idx="456">
                  <c:v>23</c:v>
                </c:pt>
                <c:pt idx="457">
                  <c:v>33</c:v>
                </c:pt>
                <c:pt idx="458">
                  <c:v>18</c:v>
                </c:pt>
                <c:pt idx="459">
                  <c:v>39</c:v>
                </c:pt>
                <c:pt idx="460">
                  <c:v>4</c:v>
                </c:pt>
                <c:pt idx="461">
                  <c:v>23</c:v>
                </c:pt>
                <c:pt idx="462">
                  <c:v>16</c:v>
                </c:pt>
                <c:pt idx="463">
                  <c:v>26</c:v>
                </c:pt>
                <c:pt idx="464">
                  <c:v>30</c:v>
                </c:pt>
                <c:pt idx="465">
                  <c:v>12</c:v>
                </c:pt>
                <c:pt idx="4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Sheet1!$B$2:$B$468</c:f>
              <c:numCache>
                <c:formatCode>#\ ##0_ ;\-#\ ##0\ </c:formatCode>
                <c:ptCount val="46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3</c:v>
                </c:pt>
                <c:pt idx="32">
                  <c:v>31</c:v>
                </c:pt>
                <c:pt idx="33">
                  <c:v>29</c:v>
                </c:pt>
                <c:pt idx="34">
                  <c:v>89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57</c:v>
                </c:pt>
                <c:pt idx="42">
                  <c:v>154</c:v>
                </c:pt>
                <c:pt idx="43">
                  <c:v>191</c:v>
                </c:pt>
                <c:pt idx="44">
                  <c:v>199</c:v>
                </c:pt>
                <c:pt idx="45">
                  <c:v>211</c:v>
                </c:pt>
                <c:pt idx="46">
                  <c:v>103</c:v>
                </c:pt>
                <c:pt idx="47">
                  <c:v>48</c:v>
                </c:pt>
                <c:pt idx="48">
                  <c:v>189</c:v>
                </c:pt>
                <c:pt idx="49">
                  <c:v>193</c:v>
                </c:pt>
                <c:pt idx="50">
                  <c:v>257</c:v>
                </c:pt>
                <c:pt idx="51">
                  <c:v>235</c:v>
                </c:pt>
                <c:pt idx="52">
                  <c:v>334</c:v>
                </c:pt>
                <c:pt idx="53">
                  <c:v>187</c:v>
                </c:pt>
                <c:pt idx="54">
                  <c:v>90</c:v>
                </c:pt>
                <c:pt idx="55">
                  <c:v>375</c:v>
                </c:pt>
                <c:pt idx="56">
                  <c:v>396</c:v>
                </c:pt>
                <c:pt idx="57">
                  <c:v>134</c:v>
                </c:pt>
                <c:pt idx="58">
                  <c:v>469</c:v>
                </c:pt>
                <c:pt idx="59">
                  <c:v>332</c:v>
                </c:pt>
                <c:pt idx="60">
                  <c:v>182</c:v>
                </c:pt>
                <c:pt idx="61">
                  <c:v>116</c:v>
                </c:pt>
                <c:pt idx="62">
                  <c:v>297</c:v>
                </c:pt>
                <c:pt idx="63">
                  <c:v>230</c:v>
                </c:pt>
                <c:pt idx="64">
                  <c:v>329</c:v>
                </c:pt>
                <c:pt idx="65">
                  <c:v>278</c:v>
                </c:pt>
                <c:pt idx="66">
                  <c:v>240</c:v>
                </c:pt>
                <c:pt idx="67">
                  <c:v>117</c:v>
                </c:pt>
                <c:pt idx="68">
                  <c:v>48</c:v>
                </c:pt>
                <c:pt idx="69">
                  <c:v>196</c:v>
                </c:pt>
                <c:pt idx="70">
                  <c:v>204</c:v>
                </c:pt>
                <c:pt idx="71">
                  <c:v>262</c:v>
                </c:pt>
                <c:pt idx="72">
                  <c:v>229</c:v>
                </c:pt>
                <c:pt idx="73">
                  <c:v>204</c:v>
                </c:pt>
                <c:pt idx="74">
                  <c:v>73</c:v>
                </c:pt>
                <c:pt idx="75">
                  <c:v>30</c:v>
                </c:pt>
                <c:pt idx="76">
                  <c:v>177</c:v>
                </c:pt>
                <c:pt idx="77">
                  <c:v>46</c:v>
                </c:pt>
                <c:pt idx="78">
                  <c:v>162</c:v>
                </c:pt>
                <c:pt idx="79">
                  <c:v>127</c:v>
                </c:pt>
                <c:pt idx="80">
                  <c:v>120</c:v>
                </c:pt>
                <c:pt idx="81">
                  <c:v>36</c:v>
                </c:pt>
                <c:pt idx="82">
                  <c:v>17</c:v>
                </c:pt>
                <c:pt idx="83">
                  <c:v>138</c:v>
                </c:pt>
                <c:pt idx="84">
                  <c:v>105</c:v>
                </c:pt>
                <c:pt idx="85">
                  <c:v>92</c:v>
                </c:pt>
                <c:pt idx="86">
                  <c:v>55</c:v>
                </c:pt>
                <c:pt idx="87">
                  <c:v>80</c:v>
                </c:pt>
                <c:pt idx="88">
                  <c:v>23</c:v>
                </c:pt>
                <c:pt idx="89">
                  <c:v>15</c:v>
                </c:pt>
                <c:pt idx="90">
                  <c:v>105</c:v>
                </c:pt>
                <c:pt idx="91">
                  <c:v>85</c:v>
                </c:pt>
                <c:pt idx="92">
                  <c:v>66</c:v>
                </c:pt>
                <c:pt idx="93">
                  <c:v>57</c:v>
                </c:pt>
                <c:pt idx="94">
                  <c:v>89</c:v>
                </c:pt>
                <c:pt idx="95">
                  <c:v>39</c:v>
                </c:pt>
                <c:pt idx="96">
                  <c:v>25</c:v>
                </c:pt>
                <c:pt idx="97">
                  <c:v>120</c:v>
                </c:pt>
                <c:pt idx="98">
                  <c:v>76</c:v>
                </c:pt>
                <c:pt idx="99">
                  <c:v>62</c:v>
                </c:pt>
                <c:pt idx="100">
                  <c:v>59</c:v>
                </c:pt>
                <c:pt idx="101">
                  <c:v>77</c:v>
                </c:pt>
                <c:pt idx="102">
                  <c:v>21</c:v>
                </c:pt>
                <c:pt idx="103">
                  <c:v>17</c:v>
                </c:pt>
                <c:pt idx="104">
                  <c:v>128</c:v>
                </c:pt>
                <c:pt idx="105">
                  <c:v>71</c:v>
                </c:pt>
                <c:pt idx="106">
                  <c:v>94</c:v>
                </c:pt>
                <c:pt idx="107">
                  <c:v>51</c:v>
                </c:pt>
                <c:pt idx="108">
                  <c:v>82</c:v>
                </c:pt>
                <c:pt idx="109">
                  <c:v>27</c:v>
                </c:pt>
                <c:pt idx="110">
                  <c:v>27</c:v>
                </c:pt>
                <c:pt idx="111">
                  <c:v>158</c:v>
                </c:pt>
                <c:pt idx="112">
                  <c:v>111</c:v>
                </c:pt>
                <c:pt idx="113">
                  <c:v>116</c:v>
                </c:pt>
                <c:pt idx="114">
                  <c:v>28</c:v>
                </c:pt>
                <c:pt idx="115">
                  <c:v>44</c:v>
                </c:pt>
                <c:pt idx="116">
                  <c:v>49</c:v>
                </c:pt>
                <c:pt idx="117">
                  <c:v>46</c:v>
                </c:pt>
                <c:pt idx="118">
                  <c:v>192</c:v>
                </c:pt>
                <c:pt idx="119">
                  <c:v>146</c:v>
                </c:pt>
                <c:pt idx="120">
                  <c:v>111</c:v>
                </c:pt>
                <c:pt idx="121">
                  <c:v>85</c:v>
                </c:pt>
                <c:pt idx="122">
                  <c:v>28</c:v>
                </c:pt>
                <c:pt idx="123">
                  <c:v>59</c:v>
                </c:pt>
                <c:pt idx="124">
                  <c:v>35</c:v>
                </c:pt>
                <c:pt idx="125">
                  <c:v>271</c:v>
                </c:pt>
                <c:pt idx="126">
                  <c:v>143</c:v>
                </c:pt>
                <c:pt idx="127">
                  <c:v>112</c:v>
                </c:pt>
                <c:pt idx="128">
                  <c:v>99</c:v>
                </c:pt>
                <c:pt idx="129">
                  <c:v>121</c:v>
                </c:pt>
                <c:pt idx="130">
                  <c:v>48</c:v>
                </c:pt>
                <c:pt idx="131">
                  <c:v>25</c:v>
                </c:pt>
                <c:pt idx="132">
                  <c:v>229</c:v>
                </c:pt>
                <c:pt idx="133">
                  <c:v>95</c:v>
                </c:pt>
                <c:pt idx="134">
                  <c:v>106</c:v>
                </c:pt>
                <c:pt idx="135">
                  <c:v>53</c:v>
                </c:pt>
                <c:pt idx="136">
                  <c:v>65</c:v>
                </c:pt>
                <c:pt idx="137">
                  <c:v>32</c:v>
                </c:pt>
                <c:pt idx="138">
                  <c:v>26</c:v>
                </c:pt>
                <c:pt idx="139">
                  <c:v>124</c:v>
                </c:pt>
                <c:pt idx="140">
                  <c:v>75</c:v>
                </c:pt>
                <c:pt idx="141">
                  <c:v>71</c:v>
                </c:pt>
                <c:pt idx="142">
                  <c:v>60</c:v>
                </c:pt>
                <c:pt idx="143">
                  <c:v>78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9</c:v>
                </c:pt>
                <c:pt idx="149">
                  <c:v>32</c:v>
                </c:pt>
                <c:pt idx="150">
                  <c:v>46</c:v>
                </c:pt>
                <c:pt idx="151">
                  <c:v>29</c:v>
                </c:pt>
                <c:pt idx="152">
                  <c:v>9</c:v>
                </c:pt>
                <c:pt idx="153">
                  <c:v>80</c:v>
                </c:pt>
                <c:pt idx="154">
                  <c:v>68</c:v>
                </c:pt>
                <c:pt idx="155">
                  <c:v>58</c:v>
                </c:pt>
                <c:pt idx="156">
                  <c:v>42</c:v>
                </c:pt>
                <c:pt idx="157">
                  <c:v>46</c:v>
                </c:pt>
                <c:pt idx="158">
                  <c:v>10</c:v>
                </c:pt>
                <c:pt idx="159">
                  <c:v>17</c:v>
                </c:pt>
                <c:pt idx="160">
                  <c:v>70</c:v>
                </c:pt>
                <c:pt idx="161">
                  <c:v>21</c:v>
                </c:pt>
                <c:pt idx="162">
                  <c:v>33</c:v>
                </c:pt>
                <c:pt idx="163">
                  <c:v>38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2</c:v>
                </c:pt>
                <c:pt idx="168">
                  <c:v>33</c:v>
                </c:pt>
                <c:pt idx="169">
                  <c:v>36</c:v>
                </c:pt>
                <c:pt idx="170">
                  <c:v>29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3</c:v>
                </c:pt>
                <c:pt idx="175">
                  <c:v>44</c:v>
                </c:pt>
                <c:pt idx="176">
                  <c:v>34</c:v>
                </c:pt>
                <c:pt idx="177">
                  <c:v>31</c:v>
                </c:pt>
                <c:pt idx="178">
                  <c:v>39</c:v>
                </c:pt>
                <c:pt idx="179">
                  <c:v>9</c:v>
                </c:pt>
                <c:pt idx="180">
                  <c:v>9</c:v>
                </c:pt>
                <c:pt idx="181">
                  <c:v>55</c:v>
                </c:pt>
                <c:pt idx="182">
                  <c:v>39</c:v>
                </c:pt>
                <c:pt idx="183">
                  <c:v>55</c:v>
                </c:pt>
                <c:pt idx="184">
                  <c:v>38</c:v>
                </c:pt>
                <c:pt idx="185">
                  <c:v>28</c:v>
                </c:pt>
                <c:pt idx="186">
                  <c:v>14</c:v>
                </c:pt>
                <c:pt idx="187">
                  <c:v>10</c:v>
                </c:pt>
                <c:pt idx="188">
                  <c:v>59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30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4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1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3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6</c:v>
                </c:pt>
                <c:pt idx="238">
                  <c:v>6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4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3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7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8</c:v>
                </c:pt>
                <c:pt idx="420">
                  <c:v>5</c:v>
                </c:pt>
                <c:pt idx="421">
                  <c:v>16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0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0</c:v>
                </c:pt>
                <c:pt idx="434">
                  <c:v>25</c:v>
                </c:pt>
                <c:pt idx="435">
                  <c:v>28</c:v>
                </c:pt>
                <c:pt idx="436">
                  <c:v>34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4</c:v>
                </c:pt>
                <c:pt idx="441">
                  <c:v>33</c:v>
                </c:pt>
                <c:pt idx="442">
                  <c:v>13</c:v>
                </c:pt>
                <c:pt idx="443">
                  <c:v>40</c:v>
                </c:pt>
                <c:pt idx="444">
                  <c:v>51</c:v>
                </c:pt>
                <c:pt idx="445">
                  <c:v>11</c:v>
                </c:pt>
                <c:pt idx="446">
                  <c:v>7</c:v>
                </c:pt>
                <c:pt idx="447">
                  <c:v>62</c:v>
                </c:pt>
                <c:pt idx="448">
                  <c:v>41</c:v>
                </c:pt>
                <c:pt idx="449">
                  <c:v>43</c:v>
                </c:pt>
                <c:pt idx="450">
                  <c:v>43</c:v>
                </c:pt>
                <c:pt idx="451">
                  <c:v>49</c:v>
                </c:pt>
                <c:pt idx="452">
                  <c:v>22</c:v>
                </c:pt>
                <c:pt idx="453">
                  <c:v>11</c:v>
                </c:pt>
                <c:pt idx="454">
                  <c:v>37</c:v>
                </c:pt>
                <c:pt idx="455">
                  <c:v>58</c:v>
                </c:pt>
                <c:pt idx="456">
                  <c:v>37</c:v>
                </c:pt>
                <c:pt idx="457">
                  <c:v>45</c:v>
                </c:pt>
                <c:pt idx="458">
                  <c:v>31</c:v>
                </c:pt>
                <c:pt idx="459">
                  <c:v>28</c:v>
                </c:pt>
                <c:pt idx="460">
                  <c:v>9</c:v>
                </c:pt>
                <c:pt idx="461">
                  <c:v>44</c:v>
                </c:pt>
                <c:pt idx="462">
                  <c:v>44</c:v>
                </c:pt>
                <c:pt idx="463">
                  <c:v>27</c:v>
                </c:pt>
                <c:pt idx="464">
                  <c:v>34</c:v>
                </c:pt>
                <c:pt idx="465">
                  <c:v>15</c:v>
                </c:pt>
                <c:pt idx="46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Sheet1!$B$2:$B$468</c:f>
              <c:numCache>
                <c:formatCode>#\ ##0_ ;\-#\ ##0\ </c:formatCode>
                <c:ptCount val="467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1</c:v>
                </c:pt>
                <c:pt idx="31">
                  <c:v>153</c:v>
                </c:pt>
                <c:pt idx="32">
                  <c:v>67</c:v>
                </c:pt>
                <c:pt idx="33">
                  <c:v>83</c:v>
                </c:pt>
                <c:pt idx="34">
                  <c:v>256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295</c:v>
                </c:pt>
                <c:pt idx="42">
                  <c:v>376</c:v>
                </c:pt>
                <c:pt idx="43">
                  <c:v>372</c:v>
                </c:pt>
                <c:pt idx="44">
                  <c:v>390</c:v>
                </c:pt>
                <c:pt idx="45">
                  <c:v>417</c:v>
                </c:pt>
                <c:pt idx="46">
                  <c:v>258</c:v>
                </c:pt>
                <c:pt idx="47">
                  <c:v>89</c:v>
                </c:pt>
                <c:pt idx="48">
                  <c:v>431</c:v>
                </c:pt>
                <c:pt idx="49">
                  <c:v>393</c:v>
                </c:pt>
                <c:pt idx="50">
                  <c:v>583</c:v>
                </c:pt>
                <c:pt idx="51">
                  <c:v>462</c:v>
                </c:pt>
                <c:pt idx="52">
                  <c:v>749</c:v>
                </c:pt>
                <c:pt idx="53">
                  <c:v>414</c:v>
                </c:pt>
                <c:pt idx="54">
                  <c:v>285</c:v>
                </c:pt>
                <c:pt idx="55">
                  <c:v>762</c:v>
                </c:pt>
                <c:pt idx="56">
                  <c:v>918</c:v>
                </c:pt>
                <c:pt idx="57">
                  <c:v>394</c:v>
                </c:pt>
                <c:pt idx="58">
                  <c:v>1006</c:v>
                </c:pt>
                <c:pt idx="59">
                  <c:v>919</c:v>
                </c:pt>
                <c:pt idx="60">
                  <c:v>518</c:v>
                </c:pt>
                <c:pt idx="61">
                  <c:v>328</c:v>
                </c:pt>
                <c:pt idx="62">
                  <c:v>628</c:v>
                </c:pt>
                <c:pt idx="63">
                  <c:v>562</c:v>
                </c:pt>
                <c:pt idx="64">
                  <c:v>753</c:v>
                </c:pt>
                <c:pt idx="65">
                  <c:v>811</c:v>
                </c:pt>
                <c:pt idx="66">
                  <c:v>728</c:v>
                </c:pt>
                <c:pt idx="67">
                  <c:v>331</c:v>
                </c:pt>
                <c:pt idx="68">
                  <c:v>126</c:v>
                </c:pt>
                <c:pt idx="69">
                  <c:v>400</c:v>
                </c:pt>
                <c:pt idx="70">
                  <c:v>589</c:v>
                </c:pt>
                <c:pt idx="71">
                  <c:v>939</c:v>
                </c:pt>
                <c:pt idx="72">
                  <c:v>727</c:v>
                </c:pt>
                <c:pt idx="73">
                  <c:v>685</c:v>
                </c:pt>
                <c:pt idx="74">
                  <c:v>252</c:v>
                </c:pt>
                <c:pt idx="75">
                  <c:v>194</c:v>
                </c:pt>
                <c:pt idx="76">
                  <c:v>559</c:v>
                </c:pt>
                <c:pt idx="77">
                  <c:v>183</c:v>
                </c:pt>
                <c:pt idx="78">
                  <c:v>428</c:v>
                </c:pt>
                <c:pt idx="79">
                  <c:v>396</c:v>
                </c:pt>
                <c:pt idx="80">
                  <c:v>358</c:v>
                </c:pt>
                <c:pt idx="81">
                  <c:v>130</c:v>
                </c:pt>
                <c:pt idx="82">
                  <c:v>108</c:v>
                </c:pt>
                <c:pt idx="83">
                  <c:v>516</c:v>
                </c:pt>
                <c:pt idx="84">
                  <c:v>303</c:v>
                </c:pt>
                <c:pt idx="85">
                  <c:v>216</c:v>
                </c:pt>
                <c:pt idx="86">
                  <c:v>249</c:v>
                </c:pt>
                <c:pt idx="87">
                  <c:v>218</c:v>
                </c:pt>
                <c:pt idx="88">
                  <c:v>101</c:v>
                </c:pt>
                <c:pt idx="89">
                  <c:v>43</c:v>
                </c:pt>
                <c:pt idx="90">
                  <c:v>318</c:v>
                </c:pt>
                <c:pt idx="91">
                  <c:v>208</c:v>
                </c:pt>
                <c:pt idx="92">
                  <c:v>198</c:v>
                </c:pt>
                <c:pt idx="93">
                  <c:v>185</c:v>
                </c:pt>
                <c:pt idx="94">
                  <c:v>231</c:v>
                </c:pt>
                <c:pt idx="95">
                  <c:v>128</c:v>
                </c:pt>
                <c:pt idx="96">
                  <c:v>45</c:v>
                </c:pt>
                <c:pt idx="97">
                  <c:v>262</c:v>
                </c:pt>
                <c:pt idx="98">
                  <c:v>165</c:v>
                </c:pt>
                <c:pt idx="99">
                  <c:v>202</c:v>
                </c:pt>
                <c:pt idx="100">
                  <c:v>142</c:v>
                </c:pt>
                <c:pt idx="101">
                  <c:v>306</c:v>
                </c:pt>
                <c:pt idx="102">
                  <c:v>88</c:v>
                </c:pt>
                <c:pt idx="103">
                  <c:v>66</c:v>
                </c:pt>
                <c:pt idx="104">
                  <c:v>275</c:v>
                </c:pt>
                <c:pt idx="105">
                  <c:v>204</c:v>
                </c:pt>
                <c:pt idx="106">
                  <c:v>194</c:v>
                </c:pt>
                <c:pt idx="107">
                  <c:v>119</c:v>
                </c:pt>
                <c:pt idx="108">
                  <c:v>304</c:v>
                </c:pt>
                <c:pt idx="109">
                  <c:v>88</c:v>
                </c:pt>
                <c:pt idx="110">
                  <c:v>48</c:v>
                </c:pt>
                <c:pt idx="111">
                  <c:v>336</c:v>
                </c:pt>
                <c:pt idx="112">
                  <c:v>287</c:v>
                </c:pt>
                <c:pt idx="113">
                  <c:v>238</c:v>
                </c:pt>
                <c:pt idx="114">
                  <c:v>46</c:v>
                </c:pt>
                <c:pt idx="115">
                  <c:v>115</c:v>
                </c:pt>
                <c:pt idx="116">
                  <c:v>127</c:v>
                </c:pt>
                <c:pt idx="117">
                  <c:v>144</c:v>
                </c:pt>
                <c:pt idx="118">
                  <c:v>356</c:v>
                </c:pt>
                <c:pt idx="119">
                  <c:v>331</c:v>
                </c:pt>
                <c:pt idx="120">
                  <c:v>255</c:v>
                </c:pt>
                <c:pt idx="121">
                  <c:v>218</c:v>
                </c:pt>
                <c:pt idx="122">
                  <c:v>93</c:v>
                </c:pt>
                <c:pt idx="123">
                  <c:v>118</c:v>
                </c:pt>
                <c:pt idx="124">
                  <c:v>76</c:v>
                </c:pt>
                <c:pt idx="125">
                  <c:v>540</c:v>
                </c:pt>
                <c:pt idx="126">
                  <c:v>295</c:v>
                </c:pt>
                <c:pt idx="127">
                  <c:v>276</c:v>
                </c:pt>
                <c:pt idx="128">
                  <c:v>331</c:v>
                </c:pt>
                <c:pt idx="129">
                  <c:v>306</c:v>
                </c:pt>
                <c:pt idx="130">
                  <c:v>109</c:v>
                </c:pt>
                <c:pt idx="131">
                  <c:v>55</c:v>
                </c:pt>
                <c:pt idx="132">
                  <c:v>467</c:v>
                </c:pt>
                <c:pt idx="133">
                  <c:v>221</c:v>
                </c:pt>
                <c:pt idx="134">
                  <c:v>280</c:v>
                </c:pt>
                <c:pt idx="135">
                  <c:v>150</c:v>
                </c:pt>
                <c:pt idx="136">
                  <c:v>151</c:v>
                </c:pt>
                <c:pt idx="137">
                  <c:v>67</c:v>
                </c:pt>
                <c:pt idx="138">
                  <c:v>71</c:v>
                </c:pt>
                <c:pt idx="139">
                  <c:v>285</c:v>
                </c:pt>
                <c:pt idx="140">
                  <c:v>154</c:v>
                </c:pt>
                <c:pt idx="141">
                  <c:v>217</c:v>
                </c:pt>
                <c:pt idx="142">
                  <c:v>166</c:v>
                </c:pt>
                <c:pt idx="143">
                  <c:v>192</c:v>
                </c:pt>
                <c:pt idx="144">
                  <c:v>79</c:v>
                </c:pt>
                <c:pt idx="145">
                  <c:v>36</c:v>
                </c:pt>
                <c:pt idx="146">
                  <c:v>173</c:v>
                </c:pt>
                <c:pt idx="147">
                  <c:v>117</c:v>
                </c:pt>
                <c:pt idx="148">
                  <c:v>154</c:v>
                </c:pt>
                <c:pt idx="149">
                  <c:v>98</c:v>
                </c:pt>
                <c:pt idx="150">
                  <c:v>83</c:v>
                </c:pt>
                <c:pt idx="151">
                  <c:v>78</c:v>
                </c:pt>
                <c:pt idx="152">
                  <c:v>18</c:v>
                </c:pt>
                <c:pt idx="153">
                  <c:v>185</c:v>
                </c:pt>
                <c:pt idx="154">
                  <c:v>162</c:v>
                </c:pt>
                <c:pt idx="155">
                  <c:v>160</c:v>
                </c:pt>
                <c:pt idx="156">
                  <c:v>124</c:v>
                </c:pt>
                <c:pt idx="157">
                  <c:v>130</c:v>
                </c:pt>
                <c:pt idx="158">
                  <c:v>52</c:v>
                </c:pt>
                <c:pt idx="159">
                  <c:v>33</c:v>
                </c:pt>
                <c:pt idx="160">
                  <c:v>135</c:v>
                </c:pt>
                <c:pt idx="161">
                  <c:v>87</c:v>
                </c:pt>
                <c:pt idx="162">
                  <c:v>100</c:v>
                </c:pt>
                <c:pt idx="163">
                  <c:v>103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99</c:v>
                </c:pt>
                <c:pt idx="168">
                  <c:v>50</c:v>
                </c:pt>
                <c:pt idx="169">
                  <c:v>66</c:v>
                </c:pt>
                <c:pt idx="170">
                  <c:v>56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2</c:v>
                </c:pt>
                <c:pt idx="175">
                  <c:v>79</c:v>
                </c:pt>
                <c:pt idx="176">
                  <c:v>68</c:v>
                </c:pt>
                <c:pt idx="177">
                  <c:v>77</c:v>
                </c:pt>
                <c:pt idx="178">
                  <c:v>85</c:v>
                </c:pt>
                <c:pt idx="179">
                  <c:v>18</c:v>
                </c:pt>
                <c:pt idx="180">
                  <c:v>12</c:v>
                </c:pt>
                <c:pt idx="181">
                  <c:v>133</c:v>
                </c:pt>
                <c:pt idx="182">
                  <c:v>67</c:v>
                </c:pt>
                <c:pt idx="183">
                  <c:v>101</c:v>
                </c:pt>
                <c:pt idx="184">
                  <c:v>47</c:v>
                </c:pt>
                <c:pt idx="185">
                  <c:v>50</c:v>
                </c:pt>
                <c:pt idx="186">
                  <c:v>19</c:v>
                </c:pt>
                <c:pt idx="187">
                  <c:v>15</c:v>
                </c:pt>
                <c:pt idx="188">
                  <c:v>86</c:v>
                </c:pt>
                <c:pt idx="189">
                  <c:v>112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1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4</c:v>
                </c:pt>
                <c:pt idx="203">
                  <c:v>46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4</c:v>
                </c:pt>
                <c:pt idx="211">
                  <c:v>22</c:v>
                </c:pt>
                <c:pt idx="212">
                  <c:v>21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6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6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1</c:v>
                </c:pt>
                <c:pt idx="237">
                  <c:v>7</c:v>
                </c:pt>
                <c:pt idx="238">
                  <c:v>9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7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6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1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2</c:v>
                </c:pt>
                <c:pt idx="420">
                  <c:v>14</c:v>
                </c:pt>
                <c:pt idx="421">
                  <c:v>26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5</c:v>
                </c:pt>
                <c:pt idx="427">
                  <c:v>38</c:v>
                </c:pt>
                <c:pt idx="428">
                  <c:v>35</c:v>
                </c:pt>
                <c:pt idx="429">
                  <c:v>76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0</c:v>
                </c:pt>
                <c:pt idx="434">
                  <c:v>54</c:v>
                </c:pt>
                <c:pt idx="435">
                  <c:v>43</c:v>
                </c:pt>
                <c:pt idx="436">
                  <c:v>51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7</c:v>
                </c:pt>
                <c:pt idx="441">
                  <c:v>65</c:v>
                </c:pt>
                <c:pt idx="442">
                  <c:v>36</c:v>
                </c:pt>
                <c:pt idx="443">
                  <c:v>94</c:v>
                </c:pt>
                <c:pt idx="444">
                  <c:v>135</c:v>
                </c:pt>
                <c:pt idx="445">
                  <c:v>37</c:v>
                </c:pt>
                <c:pt idx="446">
                  <c:v>17</c:v>
                </c:pt>
                <c:pt idx="447">
                  <c:v>109</c:v>
                </c:pt>
                <c:pt idx="448">
                  <c:v>63</c:v>
                </c:pt>
                <c:pt idx="449">
                  <c:v>80</c:v>
                </c:pt>
                <c:pt idx="450">
                  <c:v>77</c:v>
                </c:pt>
                <c:pt idx="451">
                  <c:v>102</c:v>
                </c:pt>
                <c:pt idx="452">
                  <c:v>25</c:v>
                </c:pt>
                <c:pt idx="453">
                  <c:v>16</c:v>
                </c:pt>
                <c:pt idx="454">
                  <c:v>65</c:v>
                </c:pt>
                <c:pt idx="455">
                  <c:v>79</c:v>
                </c:pt>
                <c:pt idx="456">
                  <c:v>60</c:v>
                </c:pt>
                <c:pt idx="457">
                  <c:v>78</c:v>
                </c:pt>
                <c:pt idx="458" formatCode="General">
                  <c:v>49</c:v>
                </c:pt>
                <c:pt idx="459" formatCode="General">
                  <c:v>67</c:v>
                </c:pt>
                <c:pt idx="460" formatCode="General">
                  <c:v>13</c:v>
                </c:pt>
                <c:pt idx="461" formatCode="General">
                  <c:v>67</c:v>
                </c:pt>
                <c:pt idx="462" formatCode="General">
                  <c:v>60</c:v>
                </c:pt>
                <c:pt idx="463" formatCode="General">
                  <c:v>53</c:v>
                </c:pt>
                <c:pt idx="464" formatCode="General">
                  <c:v>64</c:v>
                </c:pt>
                <c:pt idx="465" formatCode="General">
                  <c:v>27</c:v>
                </c:pt>
                <c:pt idx="466" formatCode="General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68</c:f>
              <c:numCache>
                <c:formatCode>m/d/yyyy</c:formatCode>
                <c:ptCount val="4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</c:numCache>
            </c:numRef>
          </c:cat>
          <c:val>
            <c:numRef>
              <c:f>Sheet1!$B$2:$B$468</c:f>
              <c:numCache>
                <c:formatCode>#\ ##0_ ;\-#\ ##0\ </c:formatCode>
                <c:ptCount val="46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1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5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20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8</c:v>
                </c:pt>
                <c:pt idx="135">
                  <c:v>24</c:v>
                </c:pt>
                <c:pt idx="136">
                  <c:v>22</c:v>
                </c:pt>
                <c:pt idx="137">
                  <c:v>17</c:v>
                </c:pt>
                <c:pt idx="138">
                  <c:v>19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6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5</c:v>
                </c:pt>
                <c:pt idx="456">
                  <c:v>5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U$1</c:f>
              <c:strCache>
                <c:ptCount val="20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</c:strCache>
            </c:strRef>
          </c:cat>
          <c:val>
            <c:numRef>
              <c:f>List1!$B$2:$U$2</c:f>
              <c:numCache>
                <c:formatCode>General</c:formatCode>
                <c:ptCount val="20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1</c:v>
                </c:pt>
                <c:pt idx="18">
                  <c:v>657</c:v>
                </c:pt>
                <c:pt idx="19">
                  <c:v>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74</c:f>
              <c:numCache>
                <c:formatCode>m/d/yyyy</c:formatCode>
                <c:ptCount val="373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1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</c:numCache>
            </c:numRef>
          </c:cat>
          <c:val>
            <c:numRef>
              <c:f>Sheet1!$B$2:$B$374</c:f>
              <c:numCache>
                <c:formatCode>General</c:formatCode>
                <c:ptCount val="373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5</c:v>
                </c:pt>
                <c:pt idx="30">
                  <c:v>15</c:v>
                </c:pt>
                <c:pt idx="31">
                  <c:v>8</c:v>
                </c:pt>
                <c:pt idx="32">
                  <c:v>17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5</c:v>
                </c:pt>
                <c:pt idx="38">
                  <c:v>49</c:v>
                </c:pt>
                <c:pt idx="39">
                  <c:v>30</c:v>
                </c:pt>
                <c:pt idx="40">
                  <c:v>41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3</c:v>
                </c:pt>
                <c:pt idx="46">
                  <c:v>61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69</c:v>
                </c:pt>
                <c:pt idx="52">
                  <c:v>42</c:v>
                </c:pt>
                <c:pt idx="53">
                  <c:v>84</c:v>
                </c:pt>
                <c:pt idx="54">
                  <c:v>94</c:v>
                </c:pt>
                <c:pt idx="55">
                  <c:v>37</c:v>
                </c:pt>
                <c:pt idx="56">
                  <c:v>37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77</c:v>
                </c:pt>
                <c:pt idx="61">
                  <c:v>84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2</c:v>
                </c:pt>
                <c:pt idx="66">
                  <c:v>117</c:v>
                </c:pt>
                <c:pt idx="67">
                  <c:v>91</c:v>
                </c:pt>
                <c:pt idx="68">
                  <c:v>79</c:v>
                </c:pt>
                <c:pt idx="69">
                  <c:v>42</c:v>
                </c:pt>
                <c:pt idx="70">
                  <c:v>23</c:v>
                </c:pt>
                <c:pt idx="71">
                  <c:v>65</c:v>
                </c:pt>
                <c:pt idx="72">
                  <c:v>26</c:v>
                </c:pt>
                <c:pt idx="73">
                  <c:v>47</c:v>
                </c:pt>
                <c:pt idx="74">
                  <c:v>59</c:v>
                </c:pt>
                <c:pt idx="75">
                  <c:v>49</c:v>
                </c:pt>
                <c:pt idx="76">
                  <c:v>20</c:v>
                </c:pt>
                <c:pt idx="77">
                  <c:v>13</c:v>
                </c:pt>
                <c:pt idx="78">
                  <c:v>67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7</c:v>
                </c:pt>
                <c:pt idx="83">
                  <c:v>15</c:v>
                </c:pt>
                <c:pt idx="84">
                  <c:v>13</c:v>
                </c:pt>
                <c:pt idx="85">
                  <c:v>41</c:v>
                </c:pt>
                <c:pt idx="86">
                  <c:v>33</c:v>
                </c:pt>
                <c:pt idx="87">
                  <c:v>27</c:v>
                </c:pt>
                <c:pt idx="88">
                  <c:v>21</c:v>
                </c:pt>
                <c:pt idx="89">
                  <c:v>36</c:v>
                </c:pt>
                <c:pt idx="90">
                  <c:v>20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2</c:v>
                </c:pt>
                <c:pt idx="95">
                  <c:v>24</c:v>
                </c:pt>
                <c:pt idx="96">
                  <c:v>32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39</c:v>
                </c:pt>
                <c:pt idx="104">
                  <c:v>15</c:v>
                </c:pt>
                <c:pt idx="105">
                  <c:v>6</c:v>
                </c:pt>
                <c:pt idx="106">
                  <c:v>30</c:v>
                </c:pt>
                <c:pt idx="107">
                  <c:v>41</c:v>
                </c:pt>
                <c:pt idx="108">
                  <c:v>20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4</c:v>
                </c:pt>
                <c:pt idx="120">
                  <c:v>31</c:v>
                </c:pt>
                <c:pt idx="121">
                  <c:v>30</c:v>
                </c:pt>
                <c:pt idx="122">
                  <c:v>40</c:v>
                </c:pt>
                <c:pt idx="123">
                  <c:v>40</c:v>
                </c:pt>
                <c:pt idx="124">
                  <c:v>32</c:v>
                </c:pt>
                <c:pt idx="125">
                  <c:v>15</c:v>
                </c:pt>
                <c:pt idx="126">
                  <c:v>8</c:v>
                </c:pt>
                <c:pt idx="127">
                  <c:v>50</c:v>
                </c:pt>
                <c:pt idx="128">
                  <c:v>24</c:v>
                </c:pt>
                <c:pt idx="129">
                  <c:v>22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1</c:v>
                </c:pt>
                <c:pt idx="142">
                  <c:v>11</c:v>
                </c:pt>
                <c:pt idx="143">
                  <c:v>21</c:v>
                </c:pt>
                <c:pt idx="144">
                  <c:v>11</c:v>
                </c:pt>
                <c:pt idx="145">
                  <c:v>8</c:v>
                </c:pt>
                <c:pt idx="146">
                  <c:v>9</c:v>
                </c:pt>
                <c:pt idx="147">
                  <c:v>5</c:v>
                </c:pt>
                <c:pt idx="148">
                  <c:v>20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4</c:v>
                </c:pt>
                <c:pt idx="156">
                  <c:v>15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9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4</c:v>
                </c:pt>
                <c:pt idx="171">
                  <c:v>7</c:v>
                </c:pt>
                <c:pt idx="172">
                  <c:v>11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6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7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8</c:v>
                </c:pt>
                <c:pt idx="191">
                  <c:v>9</c:v>
                </c:pt>
                <c:pt idx="192">
                  <c:v>1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6</c:v>
                </c:pt>
                <c:pt idx="198">
                  <c:v>6</c:v>
                </c:pt>
                <c:pt idx="199">
                  <c:v>2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1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2</c:v>
                </c:pt>
                <c:pt idx="259">
                  <c:v>1</c:v>
                </c:pt>
                <c:pt idx="260">
                  <c:v>0</c:v>
                </c:pt>
                <c:pt idx="261">
                  <c:v>1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1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0</c:v>
                </c:pt>
                <c:pt idx="286">
                  <c:v>2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1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3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3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4</c:v>
                </c:pt>
                <c:pt idx="320">
                  <c:v>0</c:v>
                </c:pt>
                <c:pt idx="321">
                  <c:v>1</c:v>
                </c:pt>
                <c:pt idx="322">
                  <c:v>0</c:v>
                </c:pt>
                <c:pt idx="323">
                  <c:v>2</c:v>
                </c:pt>
                <c:pt idx="324">
                  <c:v>0</c:v>
                </c:pt>
                <c:pt idx="325">
                  <c:v>0</c:v>
                </c:pt>
                <c:pt idx="326">
                  <c:v>4</c:v>
                </c:pt>
                <c:pt idx="327">
                  <c:v>2</c:v>
                </c:pt>
                <c:pt idx="328">
                  <c:v>2</c:v>
                </c:pt>
                <c:pt idx="329">
                  <c:v>0</c:v>
                </c:pt>
                <c:pt idx="330">
                  <c:v>5</c:v>
                </c:pt>
                <c:pt idx="331">
                  <c:v>3</c:v>
                </c:pt>
                <c:pt idx="332">
                  <c:v>2</c:v>
                </c:pt>
                <c:pt idx="333">
                  <c:v>8</c:v>
                </c:pt>
                <c:pt idx="334">
                  <c:v>6</c:v>
                </c:pt>
                <c:pt idx="335">
                  <c:v>5</c:v>
                </c:pt>
                <c:pt idx="336">
                  <c:v>3</c:v>
                </c:pt>
                <c:pt idx="337">
                  <c:v>6</c:v>
                </c:pt>
                <c:pt idx="338">
                  <c:v>1</c:v>
                </c:pt>
                <c:pt idx="339">
                  <c:v>1</c:v>
                </c:pt>
                <c:pt idx="340">
                  <c:v>6</c:v>
                </c:pt>
                <c:pt idx="341">
                  <c:v>7</c:v>
                </c:pt>
                <c:pt idx="342">
                  <c:v>4</c:v>
                </c:pt>
                <c:pt idx="343">
                  <c:v>6</c:v>
                </c:pt>
                <c:pt idx="344">
                  <c:v>2</c:v>
                </c:pt>
                <c:pt idx="345">
                  <c:v>5</c:v>
                </c:pt>
                <c:pt idx="346">
                  <c:v>2</c:v>
                </c:pt>
                <c:pt idx="347">
                  <c:v>7</c:v>
                </c:pt>
                <c:pt idx="348">
                  <c:v>7</c:v>
                </c:pt>
                <c:pt idx="349">
                  <c:v>5</c:v>
                </c:pt>
                <c:pt idx="350">
                  <c:v>11</c:v>
                </c:pt>
                <c:pt idx="351">
                  <c:v>7</c:v>
                </c:pt>
                <c:pt idx="352">
                  <c:v>3</c:v>
                </c:pt>
                <c:pt idx="353">
                  <c:v>4</c:v>
                </c:pt>
                <c:pt idx="354">
                  <c:v>11</c:v>
                </c:pt>
                <c:pt idx="355">
                  <c:v>5</c:v>
                </c:pt>
                <c:pt idx="356">
                  <c:v>14</c:v>
                </c:pt>
                <c:pt idx="357">
                  <c:v>5</c:v>
                </c:pt>
                <c:pt idx="358">
                  <c:v>9</c:v>
                </c:pt>
                <c:pt idx="359">
                  <c:v>0</c:v>
                </c:pt>
                <c:pt idx="360">
                  <c:v>2</c:v>
                </c:pt>
                <c:pt idx="361">
                  <c:v>6</c:v>
                </c:pt>
                <c:pt idx="362">
                  <c:v>3</c:v>
                </c:pt>
                <c:pt idx="363">
                  <c:v>5</c:v>
                </c:pt>
                <c:pt idx="364">
                  <c:v>8</c:v>
                </c:pt>
                <c:pt idx="365">
                  <c:v>3</c:v>
                </c:pt>
                <c:pt idx="366">
                  <c:v>5</c:v>
                </c:pt>
                <c:pt idx="367">
                  <c:v>1</c:v>
                </c:pt>
                <c:pt idx="368">
                  <c:v>7</c:v>
                </c:pt>
                <c:pt idx="369">
                  <c:v>2</c:v>
                </c:pt>
                <c:pt idx="370">
                  <c:v>3</c:v>
                </c:pt>
                <c:pt idx="371">
                  <c:v>2</c:v>
                </c:pt>
                <c:pt idx="37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75794495043021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74</c:f>
              <c:numCache>
                <c:formatCode>m/d/yyyy</c:formatCode>
                <c:ptCount val="373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1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</c:numCache>
            </c:numRef>
          </c:cat>
          <c:val>
            <c:numRef>
              <c:f>Sheet1!$B$2:$B$374</c:f>
              <c:numCache>
                <c:formatCode>General</c:formatCode>
                <c:ptCount val="37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8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3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1</c:v>
                </c:pt>
                <c:pt idx="333">
                  <c:v>1</c:v>
                </c:pt>
                <c:pt idx="334">
                  <c:v>1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3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2</c:v>
                </c:pt>
                <c:pt idx="346">
                  <c:v>2</c:v>
                </c:pt>
                <c:pt idx="347">
                  <c:v>1</c:v>
                </c:pt>
                <c:pt idx="348">
                  <c:v>1</c:v>
                </c:pt>
                <c:pt idx="349">
                  <c:v>0</c:v>
                </c:pt>
                <c:pt idx="350">
                  <c:v>5</c:v>
                </c:pt>
                <c:pt idx="351">
                  <c:v>3</c:v>
                </c:pt>
                <c:pt idx="352">
                  <c:v>1</c:v>
                </c:pt>
                <c:pt idx="353">
                  <c:v>3</c:v>
                </c:pt>
                <c:pt idx="354">
                  <c:v>2</c:v>
                </c:pt>
                <c:pt idx="355">
                  <c:v>0</c:v>
                </c:pt>
                <c:pt idx="356">
                  <c:v>5</c:v>
                </c:pt>
                <c:pt idx="357">
                  <c:v>0</c:v>
                </c:pt>
                <c:pt idx="358">
                  <c:v>1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1</c:v>
                </c:pt>
                <c:pt idx="371">
                  <c:v>0</c:v>
                </c:pt>
                <c:pt idx="37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30</c:v>
                </c:pt>
                <c:pt idx="1">
                  <c:v>89</c:v>
                </c:pt>
                <c:pt idx="2">
                  <c:v>107</c:v>
                </c:pt>
                <c:pt idx="3">
                  <c:v>118</c:v>
                </c:pt>
                <c:pt idx="4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9</c:v>
                </c:pt>
                <c:pt idx="1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3.6242943383260673E-2"/>
                  <c:y val="1.89402053514146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7382662522527235</c:v>
                </c:pt>
                <c:pt idx="1">
                  <c:v>0.22617337477472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7.1509083454187044E-4"/>
                  <c:y val="-3.77423055378467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3708286241151635</c:v>
                </c:pt>
                <c:pt idx="1">
                  <c:v>0.36291713758848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31965023312475666"/>
                  <c:y val="-0.161979480220805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4.3491474984860841E-2"/>
                  <c:y val="5.1655105503858271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0989027799023763</c:v>
                </c:pt>
                <c:pt idx="1">
                  <c:v>0.29010972200976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878745886021136</c:v>
                </c:pt>
                <c:pt idx="1">
                  <c:v>1.212541139788671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chart" Target="../charts/chart8.xml"/><Relationship Id="rId5" Type="http://schemas.openxmlformats.org/officeDocument/2006/relationships/tags" Target="../tags/tag14.xml"/><Relationship Id="rId10" Type="http://schemas.openxmlformats.org/officeDocument/2006/relationships/chart" Target="../charts/chart7.xml"/><Relationship Id="rId4" Type="http://schemas.openxmlformats.org/officeDocument/2006/relationships/tags" Target="../tags/tag13.xml"/><Relationship Id="rId9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11.xml"/><Relationship Id="rId4" Type="http://schemas.openxmlformats.org/officeDocument/2006/relationships/tags" Target="../tags/tag20.xml"/><Relationship Id="rId9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chart" Target="../charts/char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2. – 12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6188251"/>
              </p:ext>
            </p:extLst>
          </p:nvPr>
        </p:nvGraphicFramePr>
        <p:xfrm>
          <a:off x="1372685" y="1009672"/>
          <a:ext cx="9684753" cy="508585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3534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0454856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6891396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4100000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637571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9814256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98455694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15689880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953702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05700556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7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0310336"/>
                  </a:ext>
                </a:extLst>
              </a:tr>
              <a:tr h="2907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28600" y="434210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šíření nákazy v pobytových sociálních službách je ze strany poskytovatelů reprezentativní, celý systém dosahuje více než 81% pokrytí tohoto segmentu péče. Za celé období sledování od podzimu 2020 bylo registrováno přes 24 400 nakažených klientů a více než 17 300 nakažených pracovníků. Hlášení o úmrtích COVID pozitivních klientů přesáhlo 3 400, pracovníků zemřelo 21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44420" y="2638833"/>
            <a:ext cx="1095375" cy="111442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155170" y="3951344"/>
            <a:ext cx="1147387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je z těchto individuálních hlášení patrný nárůst počtu nakažených ve srovnání s říjnem 2021. Tato data tedy nezávisle potvrzují nálezy zjištěné epidemiologickými šetřeními ze strany KHS. Za měsíc listopad bylo nahlášeno 933 nákaz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810 nákaz klientů pobytových sociálních služeb. Počet hlášených úmrtí klientů dosáhnu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hodnoty 113. Ačkoli jde o výrazný nárůst proti září a říjnu, stále se jedná o počty významně nižší než v zimních až jarních měsících 2021. Počty klientů s těžkým průběhem nemoci v čase neeskalují, v prosinci pozorujeme </a:t>
            </a:r>
            <a:r>
              <a:rPr kumimoji="0" lang="cs-CZ" sz="2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írný pokles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224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8%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</p:spTree>
    <p:extLst>
      <p:ext uri="{BB962C8B-B14F-4D97-AF65-F5344CB8AC3E}">
        <p14:creationId xmlns:p14="http://schemas.microsoft.com/office/powerpoint/2010/main" val="3728569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5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0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1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72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7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</p:spTree>
    <p:extLst>
      <p:ext uri="{BB962C8B-B14F-4D97-AF65-F5344CB8AC3E}">
        <p14:creationId xmlns:p14="http://schemas.microsoft.com/office/powerpoint/2010/main" val="2899927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/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8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72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451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</p:spTree>
    <p:extLst>
      <p:ext uri="{BB962C8B-B14F-4D97-AF65-F5344CB8AC3E}">
        <p14:creationId xmlns:p14="http://schemas.microsoft.com/office/powerpoint/2010/main" val="354343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</p:spTree>
    <p:extLst>
      <p:ext uri="{BB962C8B-B14F-4D97-AF65-F5344CB8AC3E}">
        <p14:creationId xmlns:p14="http://schemas.microsoft.com/office/powerpoint/2010/main" val="11059652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</p:spTree>
    <p:extLst>
      <p:ext uri="{BB962C8B-B14F-4D97-AF65-F5344CB8AC3E}">
        <p14:creationId xmlns:p14="http://schemas.microsoft.com/office/powerpoint/2010/main" val="3997552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495648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11444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7224703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121600"/>
              </p:ext>
            </p:extLst>
          </p:nvPr>
        </p:nvGraphicFramePr>
        <p:xfrm>
          <a:off x="136358" y="948263"/>
          <a:ext cx="11895224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9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12. 12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5385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507431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503020"/>
              </p:ext>
            </p:extLst>
          </p:nvPr>
        </p:nvGraphicFramePr>
        <p:xfrm>
          <a:off x="136358" y="948263"/>
          <a:ext cx="11895224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9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9092777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55707670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51400419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75390072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12. 12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93855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77860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0439696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600" y="712116"/>
            <a:ext cx="1132702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Jde ale o počty, které jsou stále velmi významně nižší ve srovnání např. s jarem 2021. KHS identifikovaly za říjen 15 ohnisek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v sociálních zařízeních (celkem 158 nakažených osob) a za listopad 39 ohnisek s celkem 657 dosud zařazenými nakaženými osobami. Za prosinec bylo dosud zachyceno 21 ohnisek s 282 nakaženými osobami.</a:t>
            </a: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sporadick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32579" y="4647999"/>
            <a:ext cx="1319062" cy="817253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5B65A026-DC23-4DF0-8EA8-6207E5C623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721178"/>
              </p:ext>
            </p:extLst>
          </p:nvPr>
        </p:nvGraphicFramePr>
        <p:xfrm>
          <a:off x="1003515" y="5723959"/>
          <a:ext cx="10913915" cy="731520"/>
        </p:xfrm>
        <a:graphic>
          <a:graphicData uri="http://schemas.openxmlformats.org/drawingml/2006/table">
            <a:tbl>
              <a:tblPr/>
              <a:tblGrid>
                <a:gridCol w="128399">
                  <a:extLst>
                    <a:ext uri="{9D8B030D-6E8A-4147-A177-3AD203B41FA5}">
                      <a16:colId xmlns:a16="http://schemas.microsoft.com/office/drawing/2014/main" val="253263747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17377686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24442352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85888265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56031530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61353710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10755607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873715616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0564209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3289439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50366962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97147022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86855152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01864333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45577518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60533854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57190008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2153824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82051016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04291103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38792825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860484496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99708790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234345158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2106088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259522288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94240414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11916837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15926547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93368099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67738445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94063323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98446538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2644049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749697728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6746210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872330008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06746758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8356502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0048625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82293424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839671446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28566027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03174478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938867226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39576026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23530708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87799675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29661160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04766693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07283756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5094709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27647391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68002615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422950476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4620730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03684707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712584246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16886279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46340018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63282480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76718669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18103254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66544649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19556517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55243674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267157444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62181993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95148079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15588297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85837345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10540111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04290479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255744282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531772163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97530737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030216261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65536366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66691133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425989990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856329209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118773580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3224283335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937551772"/>
                    </a:ext>
                  </a:extLst>
                </a:gridCol>
                <a:gridCol w="128399">
                  <a:extLst>
                    <a:ext uri="{9D8B030D-6E8A-4147-A177-3AD203B41FA5}">
                      <a16:colId xmlns:a16="http://schemas.microsoft.com/office/drawing/2014/main" val="182630795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880846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389641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1407573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2. 12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8703A411-2351-4013-83CF-0C13C30C07DA}"/>
              </a:ext>
            </a:extLst>
          </p:cNvPr>
          <p:cNvSpPr/>
          <p:nvPr/>
        </p:nvSpPr>
        <p:spPr>
          <a:xfrm>
            <a:off x="11744132" y="5984104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3E6CB076-A534-407B-818A-8C31DD33640D}"/>
              </a:ext>
            </a:extLst>
          </p:cNvPr>
          <p:cNvSpPr/>
          <p:nvPr/>
        </p:nvSpPr>
        <p:spPr>
          <a:xfrm>
            <a:off x="10549790" y="3393200"/>
            <a:ext cx="13676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200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4131364E-553B-4C2F-8466-03694FBBBF95}"/>
              </a:ext>
            </a:extLst>
          </p:cNvPr>
          <p:cNvSpPr/>
          <p:nvPr/>
        </p:nvSpPr>
        <p:spPr>
          <a:xfrm>
            <a:off x="11748567" y="4043455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982729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55245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29681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A0449E55-F9C9-45B9-8347-7779F7549D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3771829"/>
              </p:ext>
            </p:extLst>
          </p:nvPr>
        </p:nvGraphicFramePr>
        <p:xfrm>
          <a:off x="7428791" y="5735501"/>
          <a:ext cx="4564860" cy="731520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209764537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9652661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66640734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94266672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5620268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85571799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8554671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49184015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14076587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96972356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21666001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54262991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3842151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4919604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23471085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06843771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21270393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19438107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85499615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88339810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8215" marR="8215" marT="82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046323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364443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2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8177777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2/2021 k 12. 1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15622" y="5505680"/>
            <a:ext cx="627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2. 1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519621"/>
              </p:ext>
            </p:extLst>
          </p:nvPr>
        </p:nvGraphicFramePr>
        <p:xfrm>
          <a:off x="47625" y="989354"/>
          <a:ext cx="6437728" cy="5416275"/>
        </p:xfrm>
        <a:graphic>
          <a:graphicData uri="http://schemas.openxmlformats.org/drawingml/2006/table">
            <a:tbl>
              <a:tblPr/>
              <a:tblGrid>
                <a:gridCol w="58781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2. 12.</a:t>
                      </a:r>
                      <a:endParaRPr lang="cs-CZ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9509C73E-9F8A-4343-86CE-792EB7AB80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426357"/>
              </p:ext>
            </p:extLst>
          </p:nvPr>
        </p:nvGraphicFramePr>
        <p:xfrm>
          <a:off x="7428791" y="1183720"/>
          <a:ext cx="4564860" cy="507920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275138266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87704457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8760648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68630924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88427028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32687955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70950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89134578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11098577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8334555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1535634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9513101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11081864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29629210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3746913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89191600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12336905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19160829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32377449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91449231"/>
                    </a:ext>
                  </a:extLst>
                </a:gridCol>
              </a:tblGrid>
              <a:tr h="92630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0438228"/>
                  </a:ext>
                </a:extLst>
              </a:tr>
              <a:tr h="3625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5967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809721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D01376F-A3DF-47D7-93B4-1B08AB447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42067"/>
              </p:ext>
            </p:extLst>
          </p:nvPr>
        </p:nvGraphicFramePr>
        <p:xfrm>
          <a:off x="8733427" y="977898"/>
          <a:ext cx="772524" cy="5470528"/>
        </p:xfrm>
        <a:graphic>
          <a:graphicData uri="http://schemas.openxmlformats.org/drawingml/2006/table">
            <a:tbl>
              <a:tblPr/>
              <a:tblGrid>
                <a:gridCol w="772524">
                  <a:extLst>
                    <a:ext uri="{9D8B030D-6E8A-4147-A177-3AD203B41FA5}">
                      <a16:colId xmlns:a16="http://schemas.microsoft.com/office/drawing/2014/main" val="2367344244"/>
                    </a:ext>
                  </a:extLst>
                </a:gridCol>
              </a:tblGrid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3453523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319866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141236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415634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702815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499013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981448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2894280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167748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354199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31967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486078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574214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7339342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152699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5315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86281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456445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72984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051506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689832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211651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008082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9758797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07641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538108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165934"/>
                  </a:ext>
                </a:extLst>
              </a:tr>
              <a:tr h="19537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16067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9077063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6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D542DC9-A940-40A8-B0CF-705AC2D9D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674433"/>
              </p:ext>
            </p:extLst>
          </p:nvPr>
        </p:nvGraphicFramePr>
        <p:xfrm>
          <a:off x="8705168" y="1158871"/>
          <a:ext cx="876982" cy="5289543"/>
        </p:xfrm>
        <a:graphic>
          <a:graphicData uri="http://schemas.openxmlformats.org/drawingml/2006/table">
            <a:tbl>
              <a:tblPr/>
              <a:tblGrid>
                <a:gridCol w="876982">
                  <a:extLst>
                    <a:ext uri="{9D8B030D-6E8A-4147-A177-3AD203B41FA5}">
                      <a16:colId xmlns:a16="http://schemas.microsoft.com/office/drawing/2014/main" val="3182509397"/>
                    </a:ext>
                  </a:extLst>
                </a:gridCol>
              </a:tblGrid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4233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90679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0055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46971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91052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45225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874976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31984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11092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895819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446482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8391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1804533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29713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067609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417626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91334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287103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94183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07015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909412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321302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80093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126999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702915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178992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58099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2. 12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374641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535 (13 03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64 (1 2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453 (10 52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6 (1 04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504 (68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4 (4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73 (16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8 (1 3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5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9 (3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75 (8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 (9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(3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298653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599520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86143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CAA3BD6-3E99-4EAC-BB86-B70C54B7E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3546488"/>
              </p:ext>
            </p:extLst>
          </p:nvPr>
        </p:nvGraphicFramePr>
        <p:xfrm>
          <a:off x="7358012" y="5556199"/>
          <a:ext cx="4559455" cy="853440"/>
        </p:xfrm>
        <a:graphic>
          <a:graphicData uri="http://schemas.openxmlformats.org/drawingml/2006/table">
            <a:tbl>
              <a:tblPr/>
              <a:tblGrid>
                <a:gridCol w="911891">
                  <a:extLst>
                    <a:ext uri="{9D8B030D-6E8A-4147-A177-3AD203B41FA5}">
                      <a16:colId xmlns:a16="http://schemas.microsoft.com/office/drawing/2014/main" val="1142565163"/>
                    </a:ext>
                  </a:extLst>
                </a:gridCol>
                <a:gridCol w="911891">
                  <a:extLst>
                    <a:ext uri="{9D8B030D-6E8A-4147-A177-3AD203B41FA5}">
                      <a16:colId xmlns:a16="http://schemas.microsoft.com/office/drawing/2014/main" val="2275554585"/>
                    </a:ext>
                  </a:extLst>
                </a:gridCol>
                <a:gridCol w="911891">
                  <a:extLst>
                    <a:ext uri="{9D8B030D-6E8A-4147-A177-3AD203B41FA5}">
                      <a16:colId xmlns:a16="http://schemas.microsoft.com/office/drawing/2014/main" val="3332171765"/>
                    </a:ext>
                  </a:extLst>
                </a:gridCol>
                <a:gridCol w="911891">
                  <a:extLst>
                    <a:ext uri="{9D8B030D-6E8A-4147-A177-3AD203B41FA5}">
                      <a16:colId xmlns:a16="http://schemas.microsoft.com/office/drawing/2014/main" val="2562948797"/>
                    </a:ext>
                  </a:extLst>
                </a:gridCol>
                <a:gridCol w="911891">
                  <a:extLst>
                    <a:ext uri="{9D8B030D-6E8A-4147-A177-3AD203B41FA5}">
                      <a16:colId xmlns:a16="http://schemas.microsoft.com/office/drawing/2014/main" val="9558629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359211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920372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2. 12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 k 12. 12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15909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73148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BAE1A52-4750-4BC3-912D-70154DAF6174}"/>
              </a:ext>
            </a:extLst>
          </p:cNvPr>
          <p:cNvSpPr/>
          <p:nvPr/>
        </p:nvSpPr>
        <p:spPr>
          <a:xfrm>
            <a:off x="10359541" y="1607162"/>
            <a:ext cx="15579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400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20CE13C-8026-45B6-BDF5-CAEF0DC0608D}"/>
              </a:ext>
            </a:extLst>
          </p:cNvPr>
          <p:cNvSpPr/>
          <p:nvPr/>
        </p:nvSpPr>
        <p:spPr>
          <a:xfrm>
            <a:off x="8588529" y="1743314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515B5475-423B-4202-A225-095C6040464C}"/>
              </a:ext>
            </a:extLst>
          </p:cNvPr>
          <p:cNvSpPr/>
          <p:nvPr/>
        </p:nvSpPr>
        <p:spPr>
          <a:xfrm>
            <a:off x="8588529" y="5856835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D036907E-4A47-4792-B2DB-628CFFE084EE}"/>
              </a:ext>
            </a:extLst>
          </p:cNvPr>
          <p:cNvSpPr/>
          <p:nvPr/>
        </p:nvSpPr>
        <p:spPr>
          <a:xfrm>
            <a:off x="2851741" y="118549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5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508805"/>
              </p:ext>
            </p:extLst>
          </p:nvPr>
        </p:nvGraphicFramePr>
        <p:xfrm>
          <a:off x="1372685" y="1009673"/>
          <a:ext cx="9684753" cy="530708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868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392050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088221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50850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765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11. – 30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344199"/>
              </p:ext>
            </p:extLst>
          </p:nvPr>
        </p:nvGraphicFramePr>
        <p:xfrm>
          <a:off x="1372685" y="1009673"/>
          <a:ext cx="9684753" cy="469580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34440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0310336"/>
                  </a:ext>
                </a:extLst>
              </a:tr>
              <a:tr h="4680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  <p:tag name="SLIDEFAB_RESIZE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038</TotalTime>
  <Words>14193</Words>
  <Application>Microsoft Office PowerPoint</Application>
  <PresentationFormat>Širokoúhlá obrazovka</PresentationFormat>
  <Paragraphs>6118</Paragraphs>
  <Slides>57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7</vt:i4>
      </vt:variant>
    </vt:vector>
  </HeadingPairs>
  <TitlesOfParts>
    <vt:vector size="61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530</cp:revision>
  <dcterms:created xsi:type="dcterms:W3CDTF">2020-11-14T10:09:00Z</dcterms:created>
  <dcterms:modified xsi:type="dcterms:W3CDTF">2021-12-13T07:25:36Z</dcterms:modified>
</cp:coreProperties>
</file>